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393" r:id="rId2"/>
    <p:sldId id="257" r:id="rId3"/>
    <p:sldId id="394" r:id="rId4"/>
    <p:sldId id="395" r:id="rId5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56082"/>
    <a:srgbClr val="2C8AC1"/>
    <a:srgbClr val="404040"/>
    <a:srgbClr val="E97132"/>
    <a:srgbClr val="E6E6E6"/>
    <a:srgbClr val="7BA264"/>
    <a:srgbClr val="FFFFFF"/>
    <a:srgbClr val="A5A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AC0592-02C5-412B-B09D-3DF9EC647B60}" v="149" dt="2024-07-19T10:57:13.7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 showGuides="1">
      <p:cViewPr varScale="1">
        <p:scale>
          <a:sx n="53" d="100"/>
          <a:sy n="53" d="100"/>
        </p:scale>
        <p:origin x="24" y="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勇紀 平松" userId="940ee6e9262d2cc8" providerId="LiveId" clId="{A1AC0592-02C5-412B-B09D-3DF9EC647B60}"/>
    <pc:docChg chg="undo custSel addSld delSld modSld sldOrd">
      <pc:chgData name="勇紀 平松" userId="940ee6e9262d2cc8" providerId="LiveId" clId="{A1AC0592-02C5-412B-B09D-3DF9EC647B60}" dt="2024-07-19T10:57:15.084" v="1235" actId="47"/>
      <pc:docMkLst>
        <pc:docMk/>
      </pc:docMkLst>
      <pc:sldChg chg="addSp delSp modSp del mod">
        <pc:chgData name="勇紀 平松" userId="940ee6e9262d2cc8" providerId="LiveId" clId="{A1AC0592-02C5-412B-B09D-3DF9EC647B60}" dt="2024-07-19T08:41:42.298" v="254" actId="47"/>
        <pc:sldMkLst>
          <pc:docMk/>
          <pc:sldMk cId="208306190" sldId="256"/>
        </pc:sldMkLst>
        <pc:spChg chg="del mod">
          <ac:chgData name="勇紀 平松" userId="940ee6e9262d2cc8" providerId="LiveId" clId="{A1AC0592-02C5-412B-B09D-3DF9EC647B60}" dt="2024-07-19T06:51:58.378" v="4" actId="478"/>
          <ac:spMkLst>
            <pc:docMk/>
            <pc:sldMk cId="208306190" sldId="256"/>
            <ac:spMk id="2" creationId="{88CEDEDC-0675-7E51-27CF-1584781C50D3}"/>
          </ac:spMkLst>
        </pc:spChg>
        <pc:spChg chg="del">
          <ac:chgData name="勇紀 平松" userId="940ee6e9262d2cc8" providerId="LiveId" clId="{A1AC0592-02C5-412B-B09D-3DF9EC647B60}" dt="2024-07-19T06:52:04.294" v="5" actId="478"/>
          <ac:spMkLst>
            <pc:docMk/>
            <pc:sldMk cId="208306190" sldId="256"/>
            <ac:spMk id="3" creationId="{66B00F41-286C-159C-DDAF-7F5F6494EB55}"/>
          </ac:spMkLst>
        </pc:spChg>
        <pc:spChg chg="add del mod">
          <ac:chgData name="勇紀 平松" userId="940ee6e9262d2cc8" providerId="LiveId" clId="{A1AC0592-02C5-412B-B09D-3DF9EC647B60}" dt="2024-07-19T06:52:05.791" v="6" actId="478"/>
          <ac:spMkLst>
            <pc:docMk/>
            <pc:sldMk cId="208306190" sldId="256"/>
            <ac:spMk id="5" creationId="{83BA2775-1DC3-82D9-5EF3-7EB4808D0003}"/>
          </ac:spMkLst>
        </pc:spChg>
        <pc:spChg chg="add mod">
          <ac:chgData name="勇紀 平松" userId="940ee6e9262d2cc8" providerId="LiveId" clId="{A1AC0592-02C5-412B-B09D-3DF9EC647B60}" dt="2024-07-19T08:31:41.083" v="250" actId="20577"/>
          <ac:spMkLst>
            <pc:docMk/>
            <pc:sldMk cId="208306190" sldId="256"/>
            <ac:spMk id="6" creationId="{05609B7E-514E-3F64-1726-2AF8F37EE17B}"/>
          </ac:spMkLst>
        </pc:spChg>
      </pc:sldChg>
      <pc:sldChg chg="addSp delSp modSp add mod ord modTransition">
        <pc:chgData name="勇紀 平松" userId="940ee6e9262d2cc8" providerId="LiveId" clId="{A1AC0592-02C5-412B-B09D-3DF9EC647B60}" dt="2024-07-19T10:38:37.421" v="630"/>
        <pc:sldMkLst>
          <pc:docMk/>
          <pc:sldMk cId="4208225451" sldId="257"/>
        </pc:sldMkLst>
        <pc:spChg chg="add del mod">
          <ac:chgData name="勇紀 平松" userId="940ee6e9262d2cc8" providerId="LiveId" clId="{A1AC0592-02C5-412B-B09D-3DF9EC647B60}" dt="2024-07-19T10:12:13.808" v="328" actId="478"/>
          <ac:spMkLst>
            <pc:docMk/>
            <pc:sldMk cId="4208225451" sldId="257"/>
            <ac:spMk id="4" creationId="{D9F88E0F-0D0A-A325-ABDC-3F65463FC4C7}"/>
          </ac:spMkLst>
        </pc:spChg>
        <pc:spChg chg="add del mod">
          <ac:chgData name="勇紀 平松" userId="940ee6e9262d2cc8" providerId="LiveId" clId="{A1AC0592-02C5-412B-B09D-3DF9EC647B60}" dt="2024-07-19T10:16:30.405" v="376" actId="478"/>
          <ac:spMkLst>
            <pc:docMk/>
            <pc:sldMk cId="4208225451" sldId="257"/>
            <ac:spMk id="5" creationId="{2D9B4294-C5F3-868D-77B4-0DB058FD734B}"/>
          </ac:spMkLst>
        </pc:spChg>
        <pc:spChg chg="del mod">
          <ac:chgData name="勇紀 平松" userId="940ee6e9262d2cc8" providerId="LiveId" clId="{A1AC0592-02C5-412B-B09D-3DF9EC647B60}" dt="2024-07-19T10:16:31.822" v="377" actId="478"/>
          <ac:spMkLst>
            <pc:docMk/>
            <pc:sldMk cId="4208225451" sldId="257"/>
            <ac:spMk id="6" creationId="{05609B7E-514E-3F64-1726-2AF8F37EE17B}"/>
          </ac:spMkLst>
        </pc:spChg>
        <pc:spChg chg="add del mod ord">
          <ac:chgData name="勇紀 平松" userId="940ee6e9262d2cc8" providerId="LiveId" clId="{A1AC0592-02C5-412B-B09D-3DF9EC647B60}" dt="2024-07-19T10:15:02.878" v="368" actId="11529"/>
          <ac:spMkLst>
            <pc:docMk/>
            <pc:sldMk cId="4208225451" sldId="257"/>
            <ac:spMk id="7" creationId="{7A233A6F-00F7-95A6-8470-9558BAA2D60F}"/>
          </ac:spMkLst>
        </pc:spChg>
        <pc:spChg chg="add mod">
          <ac:chgData name="勇紀 平松" userId="940ee6e9262d2cc8" providerId="LiveId" clId="{A1AC0592-02C5-412B-B09D-3DF9EC647B60}" dt="2024-07-19T10:24:21.763" v="469" actId="1076"/>
          <ac:spMkLst>
            <pc:docMk/>
            <pc:sldMk cId="4208225451" sldId="257"/>
            <ac:spMk id="8" creationId="{51437B84-F254-81FB-4C18-7B2953AE2776}"/>
          </ac:spMkLst>
        </pc:spChg>
        <pc:spChg chg="add mod">
          <ac:chgData name="勇紀 平松" userId="940ee6e9262d2cc8" providerId="LiveId" clId="{A1AC0592-02C5-412B-B09D-3DF9EC647B60}" dt="2024-07-19T10:19:01.496" v="399" actId="164"/>
          <ac:spMkLst>
            <pc:docMk/>
            <pc:sldMk cId="4208225451" sldId="257"/>
            <ac:spMk id="11" creationId="{694E67A5-61FB-65E1-5A3E-826831F6DBD3}"/>
          </ac:spMkLst>
        </pc:spChg>
        <pc:spChg chg="mod">
          <ac:chgData name="勇紀 平松" userId="940ee6e9262d2cc8" providerId="LiveId" clId="{A1AC0592-02C5-412B-B09D-3DF9EC647B60}" dt="2024-07-19T10:19:13.074" v="402"/>
          <ac:spMkLst>
            <pc:docMk/>
            <pc:sldMk cId="4208225451" sldId="257"/>
            <ac:spMk id="14" creationId="{E5F59142-8137-F015-5E35-AC50A7456ADD}"/>
          </ac:spMkLst>
        </pc:spChg>
        <pc:spChg chg="add mod">
          <ac:chgData name="勇紀 平松" userId="940ee6e9262d2cc8" providerId="LiveId" clId="{A1AC0592-02C5-412B-B09D-3DF9EC647B60}" dt="2024-07-19T10:20:43.283" v="422" actId="164"/>
          <ac:spMkLst>
            <pc:docMk/>
            <pc:sldMk cId="4208225451" sldId="257"/>
            <ac:spMk id="18" creationId="{00B31DE6-7F0B-81E7-2E84-DC2C17223C99}"/>
          </ac:spMkLst>
        </pc:spChg>
        <pc:spChg chg="add mod">
          <ac:chgData name="勇紀 平松" userId="940ee6e9262d2cc8" providerId="LiveId" clId="{A1AC0592-02C5-412B-B09D-3DF9EC647B60}" dt="2024-07-19T10:25:13.417" v="499"/>
          <ac:spMkLst>
            <pc:docMk/>
            <pc:sldMk cId="4208225451" sldId="257"/>
            <ac:spMk id="23" creationId="{AE29D85E-BB59-488C-8D54-2DED8903C9D1}"/>
          </ac:spMkLst>
        </pc:spChg>
        <pc:spChg chg="add mod">
          <ac:chgData name="勇紀 平松" userId="940ee6e9262d2cc8" providerId="LiveId" clId="{A1AC0592-02C5-412B-B09D-3DF9EC647B60}" dt="2024-07-19T10:25:26.022" v="511"/>
          <ac:spMkLst>
            <pc:docMk/>
            <pc:sldMk cId="4208225451" sldId="257"/>
            <ac:spMk id="24" creationId="{5A248E9E-74D9-A1A1-3B1D-26E828F61D61}"/>
          </ac:spMkLst>
        </pc:spChg>
        <pc:spChg chg="add mod">
          <ac:chgData name="勇紀 平松" userId="940ee6e9262d2cc8" providerId="LiveId" clId="{A1AC0592-02C5-412B-B09D-3DF9EC647B60}" dt="2024-07-19T10:26:45.020" v="579" actId="1076"/>
          <ac:spMkLst>
            <pc:docMk/>
            <pc:sldMk cId="4208225451" sldId="257"/>
            <ac:spMk id="27" creationId="{FCECC93E-E445-2E2A-4D12-85BAF303FD7C}"/>
          </ac:spMkLst>
        </pc:spChg>
        <pc:spChg chg="add mod">
          <ac:chgData name="勇紀 平松" userId="940ee6e9262d2cc8" providerId="LiveId" clId="{A1AC0592-02C5-412B-B09D-3DF9EC647B60}" dt="2024-07-19T10:30:28.055" v="625" actId="1076"/>
          <ac:spMkLst>
            <pc:docMk/>
            <pc:sldMk cId="4208225451" sldId="257"/>
            <ac:spMk id="28" creationId="{F1544E3D-2531-1284-0FFA-7F337B533D65}"/>
          </ac:spMkLst>
        </pc:spChg>
        <pc:spChg chg="add mod">
          <ac:chgData name="勇紀 平松" userId="940ee6e9262d2cc8" providerId="LiveId" clId="{A1AC0592-02C5-412B-B09D-3DF9EC647B60}" dt="2024-07-19T10:38:09.267" v="628" actId="1076"/>
          <ac:spMkLst>
            <pc:docMk/>
            <pc:sldMk cId="4208225451" sldId="257"/>
            <ac:spMk id="29" creationId="{739F2B54-0687-685D-99B5-8C4AAF87AB10}"/>
          </ac:spMkLst>
        </pc:spChg>
        <pc:grpChg chg="add mod">
          <ac:chgData name="勇紀 平松" userId="940ee6e9262d2cc8" providerId="LiveId" clId="{A1AC0592-02C5-412B-B09D-3DF9EC647B60}" dt="2024-07-19T10:23:10.619" v="441" actId="164"/>
          <ac:grpSpMkLst>
            <pc:docMk/>
            <pc:sldMk cId="4208225451" sldId="257"/>
            <ac:grpSpMk id="12" creationId="{C4807E91-4F22-4160-4132-817FCE139096}"/>
          </ac:grpSpMkLst>
        </pc:grpChg>
        <pc:grpChg chg="add mod">
          <ac:chgData name="勇紀 平松" userId="940ee6e9262d2cc8" providerId="LiveId" clId="{A1AC0592-02C5-412B-B09D-3DF9EC647B60}" dt="2024-07-19T10:23:10.619" v="441" actId="164"/>
          <ac:grpSpMkLst>
            <pc:docMk/>
            <pc:sldMk cId="4208225451" sldId="257"/>
            <ac:grpSpMk id="13" creationId="{5794A8FF-A429-F015-CFC2-3FB65102F72D}"/>
          </ac:grpSpMkLst>
        </pc:grpChg>
        <pc:grpChg chg="add mod">
          <ac:chgData name="勇紀 平松" userId="940ee6e9262d2cc8" providerId="LiveId" clId="{A1AC0592-02C5-412B-B09D-3DF9EC647B60}" dt="2024-07-19T10:23:10.619" v="441" actId="164"/>
          <ac:grpSpMkLst>
            <pc:docMk/>
            <pc:sldMk cId="4208225451" sldId="257"/>
            <ac:grpSpMk id="19" creationId="{D1652B8F-29C8-203D-069E-3A3FF486B29A}"/>
          </ac:grpSpMkLst>
        </pc:grpChg>
        <pc:grpChg chg="add mod">
          <ac:chgData name="勇紀 平松" userId="940ee6e9262d2cc8" providerId="LiveId" clId="{A1AC0592-02C5-412B-B09D-3DF9EC647B60}" dt="2024-07-19T10:25:42.165" v="517" actId="1076"/>
          <ac:grpSpMkLst>
            <pc:docMk/>
            <pc:sldMk cId="4208225451" sldId="257"/>
            <ac:grpSpMk id="22" creationId="{0B5CEC59-68B0-0AA3-FDBE-05290147AEDD}"/>
          </ac:grpSpMkLst>
        </pc:grpChg>
        <pc:picChg chg="add mod ord">
          <ac:chgData name="勇紀 平松" userId="940ee6e9262d2cc8" providerId="LiveId" clId="{A1AC0592-02C5-412B-B09D-3DF9EC647B60}" dt="2024-07-19T10:23:49.873" v="452" actId="1076"/>
          <ac:picMkLst>
            <pc:docMk/>
            <pc:sldMk cId="4208225451" sldId="257"/>
            <ac:picMk id="10" creationId="{5233C085-B494-C3CF-3CF5-7877828081F7}"/>
          </ac:picMkLst>
        </pc:picChg>
        <pc:picChg chg="mod">
          <ac:chgData name="勇紀 平松" userId="940ee6e9262d2cc8" providerId="LiveId" clId="{A1AC0592-02C5-412B-B09D-3DF9EC647B60}" dt="2024-07-19T10:23:49.873" v="452" actId="1076"/>
          <ac:picMkLst>
            <pc:docMk/>
            <pc:sldMk cId="4208225451" sldId="257"/>
            <ac:picMk id="15" creationId="{E2ABFCE0-0827-3E84-68EF-038D1934A9E6}"/>
          </ac:picMkLst>
        </pc:picChg>
        <pc:picChg chg="add mod ord">
          <ac:chgData name="勇紀 平松" userId="940ee6e9262d2cc8" providerId="LiveId" clId="{A1AC0592-02C5-412B-B09D-3DF9EC647B60}" dt="2024-07-19T10:23:49.873" v="452" actId="1076"/>
          <ac:picMkLst>
            <pc:docMk/>
            <pc:sldMk cId="4208225451" sldId="257"/>
            <ac:picMk id="17" creationId="{58B996A5-503D-6765-C2A4-8450F17540BE}"/>
          </ac:picMkLst>
        </pc:picChg>
        <pc:picChg chg="add mod">
          <ac:chgData name="勇紀 平松" userId="940ee6e9262d2cc8" providerId="LiveId" clId="{A1AC0592-02C5-412B-B09D-3DF9EC647B60}" dt="2024-07-19T10:23:49.873" v="452" actId="1076"/>
          <ac:picMkLst>
            <pc:docMk/>
            <pc:sldMk cId="4208225451" sldId="257"/>
            <ac:picMk id="21" creationId="{6AD1086F-2EDE-CC5D-22FE-90B4F0C02282}"/>
          </ac:picMkLst>
        </pc:picChg>
        <pc:picChg chg="add mod">
          <ac:chgData name="勇紀 平松" userId="940ee6e9262d2cc8" providerId="LiveId" clId="{A1AC0592-02C5-412B-B09D-3DF9EC647B60}" dt="2024-07-19T10:25:31.052" v="514" actId="1076"/>
          <ac:picMkLst>
            <pc:docMk/>
            <pc:sldMk cId="4208225451" sldId="257"/>
            <ac:picMk id="25" creationId="{EF7AA9C4-D389-02D1-FAD0-57372E926FE9}"/>
          </ac:picMkLst>
        </pc:picChg>
      </pc:sldChg>
      <pc:sldChg chg="modSp add del mod ord">
        <pc:chgData name="勇紀 平松" userId="940ee6e9262d2cc8" providerId="LiveId" clId="{A1AC0592-02C5-412B-B09D-3DF9EC647B60}" dt="2024-07-19T09:58:19.161" v="266"/>
        <pc:sldMkLst>
          <pc:docMk/>
          <pc:sldMk cId="1345877701" sldId="389"/>
        </pc:sldMkLst>
        <pc:spChg chg="mod">
          <ac:chgData name="勇紀 平松" userId="940ee6e9262d2cc8" providerId="LiveId" clId="{A1AC0592-02C5-412B-B09D-3DF9EC647B60}" dt="2024-07-19T09:57:52.970" v="258" actId="207"/>
          <ac:spMkLst>
            <pc:docMk/>
            <pc:sldMk cId="1345877701" sldId="389"/>
            <ac:spMk id="287" creationId="{F8296D2E-C62E-442A-B284-01EF22F485D3}"/>
          </ac:spMkLst>
        </pc:spChg>
        <pc:spChg chg="mod">
          <ac:chgData name="勇紀 平松" userId="940ee6e9262d2cc8" providerId="LiveId" clId="{A1AC0592-02C5-412B-B09D-3DF9EC647B60}" dt="2024-07-19T09:57:52.970" v="258" actId="207"/>
          <ac:spMkLst>
            <pc:docMk/>
            <pc:sldMk cId="1345877701" sldId="389"/>
            <ac:spMk id="288" creationId="{6EB7ECE7-F63A-4C51-BE6A-13BC0E759F35}"/>
          </ac:spMkLst>
        </pc:spChg>
        <pc:spChg chg="mod">
          <ac:chgData name="勇紀 平松" userId="940ee6e9262d2cc8" providerId="LiveId" clId="{A1AC0592-02C5-412B-B09D-3DF9EC647B60}" dt="2024-07-19T09:57:52.970" v="258" actId="207"/>
          <ac:spMkLst>
            <pc:docMk/>
            <pc:sldMk cId="1345877701" sldId="389"/>
            <ac:spMk id="289" creationId="{6F43371B-2E28-4347-9466-625BE13886BE}"/>
          </ac:spMkLst>
        </pc:spChg>
        <pc:spChg chg="mod">
          <ac:chgData name="勇紀 平松" userId="940ee6e9262d2cc8" providerId="LiveId" clId="{A1AC0592-02C5-412B-B09D-3DF9EC647B60}" dt="2024-07-19T09:57:52.970" v="258" actId="207"/>
          <ac:spMkLst>
            <pc:docMk/>
            <pc:sldMk cId="1345877701" sldId="389"/>
            <ac:spMk id="290" creationId="{A4F5B4BD-EE99-4B0B-B3B2-AC792BC4DEDB}"/>
          </ac:spMkLst>
        </pc:spChg>
        <pc:spChg chg="mod">
          <ac:chgData name="勇紀 平松" userId="940ee6e9262d2cc8" providerId="LiveId" clId="{A1AC0592-02C5-412B-B09D-3DF9EC647B60}" dt="2024-07-19T09:58:19.161" v="266"/>
          <ac:spMkLst>
            <pc:docMk/>
            <pc:sldMk cId="1345877701" sldId="389"/>
            <ac:spMk id="523" creationId="{82BC769A-CB95-44A3-8A9C-6D3429605386}"/>
          </ac:spMkLst>
        </pc:spChg>
        <pc:grpChg chg="mod">
          <ac:chgData name="勇紀 平松" userId="940ee6e9262d2cc8" providerId="LiveId" clId="{A1AC0592-02C5-412B-B09D-3DF9EC647B60}" dt="2024-07-19T09:57:52.970" v="258" actId="207"/>
          <ac:grpSpMkLst>
            <pc:docMk/>
            <pc:sldMk cId="1345877701" sldId="389"/>
            <ac:grpSpMk id="286" creationId="{B6018669-1197-4EF4-84CF-D7459A5056D7}"/>
          </ac:grpSpMkLst>
        </pc:grpChg>
      </pc:sldChg>
      <pc:sldChg chg="add ord modTransition modAnim">
        <pc:chgData name="勇紀 平松" userId="940ee6e9262d2cc8" providerId="LiveId" clId="{A1AC0592-02C5-412B-B09D-3DF9EC647B60}" dt="2024-07-19T10:38:37.421" v="630"/>
        <pc:sldMkLst>
          <pc:docMk/>
          <pc:sldMk cId="3749763893" sldId="393"/>
        </pc:sldMkLst>
      </pc:sldChg>
      <pc:sldChg chg="modSp add mod ord modTransition modAnim">
        <pc:chgData name="勇紀 平松" userId="940ee6e9262d2cc8" providerId="LiveId" clId="{A1AC0592-02C5-412B-B09D-3DF9EC647B60}" dt="2024-07-19T10:54:49.548" v="1128" actId="207"/>
        <pc:sldMkLst>
          <pc:docMk/>
          <pc:sldMk cId="2235754039" sldId="394"/>
        </pc:sldMkLst>
        <pc:spChg chg="mod">
          <ac:chgData name="勇紀 平松" userId="940ee6e9262d2cc8" providerId="LiveId" clId="{A1AC0592-02C5-412B-B09D-3DF9EC647B60}" dt="2024-07-19T10:54:49.548" v="1128" actId="207"/>
          <ac:spMkLst>
            <pc:docMk/>
            <pc:sldMk cId="2235754039" sldId="394"/>
            <ac:spMk id="24" creationId="{F3B460BB-4EB8-40B7-5AF1-CD2B345A15D3}"/>
          </ac:spMkLst>
        </pc:spChg>
        <pc:spChg chg="mod">
          <ac:chgData name="勇紀 平松" userId="940ee6e9262d2cc8" providerId="LiveId" clId="{A1AC0592-02C5-412B-B09D-3DF9EC647B60}" dt="2024-07-19T10:54:49.244" v="1127" actId="207"/>
          <ac:spMkLst>
            <pc:docMk/>
            <pc:sldMk cId="2235754039" sldId="394"/>
            <ac:spMk id="25" creationId="{A243E866-9020-8A59-9D7B-87904A555BD3}"/>
          </ac:spMkLst>
        </pc:spChg>
        <pc:spChg chg="mod">
          <ac:chgData name="勇紀 平松" userId="940ee6e9262d2cc8" providerId="LiveId" clId="{A1AC0592-02C5-412B-B09D-3DF9EC647B60}" dt="2024-07-19T10:51:01.966" v="919" actId="207"/>
          <ac:spMkLst>
            <pc:docMk/>
            <pc:sldMk cId="2235754039" sldId="394"/>
            <ac:spMk id="287" creationId="{F8296D2E-C62E-442A-B284-01EF22F485D3}"/>
          </ac:spMkLst>
        </pc:spChg>
        <pc:spChg chg="mod">
          <ac:chgData name="勇紀 平松" userId="940ee6e9262d2cc8" providerId="LiveId" clId="{A1AC0592-02C5-412B-B09D-3DF9EC647B60}" dt="2024-07-19T10:51:01.966" v="919" actId="207"/>
          <ac:spMkLst>
            <pc:docMk/>
            <pc:sldMk cId="2235754039" sldId="394"/>
            <ac:spMk id="288" creationId="{6EB7ECE7-F63A-4C51-BE6A-13BC0E759F35}"/>
          </ac:spMkLst>
        </pc:spChg>
        <pc:spChg chg="mod">
          <ac:chgData name="勇紀 平松" userId="940ee6e9262d2cc8" providerId="LiveId" clId="{A1AC0592-02C5-412B-B09D-3DF9EC647B60}" dt="2024-07-19T10:51:20.248" v="922" actId="207"/>
          <ac:spMkLst>
            <pc:docMk/>
            <pc:sldMk cId="2235754039" sldId="394"/>
            <ac:spMk id="289" creationId="{6F43371B-2E28-4347-9466-625BE13886BE}"/>
          </ac:spMkLst>
        </pc:spChg>
        <pc:spChg chg="mod">
          <ac:chgData name="勇紀 平松" userId="940ee6e9262d2cc8" providerId="LiveId" clId="{A1AC0592-02C5-412B-B09D-3DF9EC647B60}" dt="2024-07-19T10:51:15.017" v="921" actId="207"/>
          <ac:spMkLst>
            <pc:docMk/>
            <pc:sldMk cId="2235754039" sldId="394"/>
            <ac:spMk id="290" creationId="{A4F5B4BD-EE99-4B0B-B3B2-AC792BC4DEDB}"/>
          </ac:spMkLst>
        </pc:spChg>
        <pc:spChg chg="mod">
          <ac:chgData name="勇紀 平松" userId="940ee6e9262d2cc8" providerId="LiveId" clId="{A1AC0592-02C5-412B-B09D-3DF9EC647B60}" dt="2024-07-19T10:22:13.609" v="432" actId="207"/>
          <ac:spMkLst>
            <pc:docMk/>
            <pc:sldMk cId="2235754039" sldId="394"/>
            <ac:spMk id="292" creationId="{0ACF8CE3-993E-4A4B-901E-4935D76BA0C2}"/>
          </ac:spMkLst>
        </pc:spChg>
        <pc:spChg chg="mod">
          <ac:chgData name="勇紀 平松" userId="940ee6e9262d2cc8" providerId="LiveId" clId="{A1AC0592-02C5-412B-B09D-3DF9EC647B60}" dt="2024-07-19T10:22:13.609" v="432" actId="207"/>
          <ac:spMkLst>
            <pc:docMk/>
            <pc:sldMk cId="2235754039" sldId="394"/>
            <ac:spMk id="293" creationId="{13425B1B-1F9F-4FF5-91D6-E73814B449D8}"/>
          </ac:spMkLst>
        </pc:spChg>
        <pc:spChg chg="mod">
          <ac:chgData name="勇紀 平松" userId="940ee6e9262d2cc8" providerId="LiveId" clId="{A1AC0592-02C5-412B-B09D-3DF9EC647B60}" dt="2024-07-19T10:22:13.609" v="432" actId="207"/>
          <ac:spMkLst>
            <pc:docMk/>
            <pc:sldMk cId="2235754039" sldId="394"/>
            <ac:spMk id="294" creationId="{5045B72C-7B35-4D52-8293-59306249D8F5}"/>
          </ac:spMkLst>
        </pc:spChg>
        <pc:spChg chg="mod">
          <ac:chgData name="勇紀 平松" userId="940ee6e9262d2cc8" providerId="LiveId" clId="{A1AC0592-02C5-412B-B09D-3DF9EC647B60}" dt="2024-07-19T10:22:13.609" v="432" actId="207"/>
          <ac:spMkLst>
            <pc:docMk/>
            <pc:sldMk cId="2235754039" sldId="394"/>
            <ac:spMk id="295" creationId="{66CBE894-E707-4D0E-9DDC-72A1885C83D0}"/>
          </ac:spMkLst>
        </pc:spChg>
        <pc:spChg chg="mod">
          <ac:chgData name="勇紀 平松" userId="940ee6e9262d2cc8" providerId="LiveId" clId="{A1AC0592-02C5-412B-B09D-3DF9EC647B60}" dt="2024-07-19T10:27:30.576" v="580" actId="20577"/>
          <ac:spMkLst>
            <pc:docMk/>
            <pc:sldMk cId="2235754039" sldId="394"/>
            <ac:spMk id="522" creationId="{0807BB20-28F3-4851-947F-E1DE740240F1}"/>
          </ac:spMkLst>
        </pc:spChg>
        <pc:spChg chg="mod">
          <ac:chgData name="勇紀 平松" userId="940ee6e9262d2cc8" providerId="LiveId" clId="{A1AC0592-02C5-412B-B09D-3DF9EC647B60}" dt="2024-07-19T09:59:19.884" v="276" actId="5793"/>
          <ac:spMkLst>
            <pc:docMk/>
            <pc:sldMk cId="2235754039" sldId="394"/>
            <ac:spMk id="523" creationId="{82BC769A-CB95-44A3-8A9C-6D3429605386}"/>
          </ac:spMkLst>
        </pc:spChg>
        <pc:grpChg chg="mod">
          <ac:chgData name="勇紀 平松" userId="940ee6e9262d2cc8" providerId="LiveId" clId="{A1AC0592-02C5-412B-B09D-3DF9EC647B60}" dt="2024-07-19T10:51:01.966" v="919" actId="207"/>
          <ac:grpSpMkLst>
            <pc:docMk/>
            <pc:sldMk cId="2235754039" sldId="394"/>
            <ac:grpSpMk id="286" creationId="{B6018669-1197-4EF4-84CF-D7459A5056D7}"/>
          </ac:grpSpMkLst>
        </pc:grpChg>
        <pc:grpChg chg="mod">
          <ac:chgData name="勇紀 平松" userId="940ee6e9262d2cc8" providerId="LiveId" clId="{A1AC0592-02C5-412B-B09D-3DF9EC647B60}" dt="2024-07-19T10:22:13.609" v="432" actId="207"/>
          <ac:grpSpMkLst>
            <pc:docMk/>
            <pc:sldMk cId="2235754039" sldId="394"/>
            <ac:grpSpMk id="291" creationId="{E8E02D71-8469-41C1-9C0E-6742E8EF3231}"/>
          </ac:grpSpMkLst>
        </pc:grpChg>
      </pc:sldChg>
      <pc:sldChg chg="addSp delSp modSp add del mod modTransition modAnim">
        <pc:chgData name="勇紀 平松" userId="940ee6e9262d2cc8" providerId="LiveId" clId="{A1AC0592-02C5-412B-B09D-3DF9EC647B60}" dt="2024-07-19T10:57:12.126" v="1227" actId="2696"/>
        <pc:sldMkLst>
          <pc:docMk/>
          <pc:sldMk cId="3121306401" sldId="395"/>
        </pc:sldMkLst>
        <pc:spChg chg="mod">
          <ac:chgData name="勇紀 平松" userId="940ee6e9262d2cc8" providerId="LiveId" clId="{A1AC0592-02C5-412B-B09D-3DF9EC647B60}" dt="2024-07-19T10:45:40.096" v="661" actId="1038"/>
          <ac:spMkLst>
            <pc:docMk/>
            <pc:sldMk cId="3121306401" sldId="395"/>
            <ac:spMk id="2" creationId="{A0411A15-F4CF-FABB-058E-36F4216B068C}"/>
          </ac:spMkLst>
        </pc:spChg>
        <pc:spChg chg="mod">
          <ac:chgData name="勇紀 平松" userId="940ee6e9262d2cc8" providerId="LiveId" clId="{A1AC0592-02C5-412B-B09D-3DF9EC647B60}" dt="2024-07-19T10:45:40.096" v="661" actId="1038"/>
          <ac:spMkLst>
            <pc:docMk/>
            <pc:sldMk cId="3121306401" sldId="395"/>
            <ac:spMk id="4" creationId="{FFDFE4A2-E243-65B7-6637-927D214FB9DE}"/>
          </ac:spMkLst>
        </pc:spChg>
        <pc:spChg chg="mod">
          <ac:chgData name="勇紀 平松" userId="940ee6e9262d2cc8" providerId="LiveId" clId="{A1AC0592-02C5-412B-B09D-3DF9EC647B60}" dt="2024-07-19T10:45:40.096" v="661" actId="1038"/>
          <ac:spMkLst>
            <pc:docMk/>
            <pc:sldMk cId="3121306401" sldId="395"/>
            <ac:spMk id="6" creationId="{7930B0DA-8F44-D19A-E1C1-8F0D252BC7C7}"/>
          </ac:spMkLst>
        </pc:spChg>
        <pc:spChg chg="mod">
          <ac:chgData name="勇紀 平松" userId="940ee6e9262d2cc8" providerId="LiveId" clId="{A1AC0592-02C5-412B-B09D-3DF9EC647B60}" dt="2024-07-19T10:45:40.096" v="661" actId="1038"/>
          <ac:spMkLst>
            <pc:docMk/>
            <pc:sldMk cId="3121306401" sldId="395"/>
            <ac:spMk id="7" creationId="{F0AB69BC-760C-1F2C-B7EC-322EDF393F0B}"/>
          </ac:spMkLst>
        </pc:spChg>
        <pc:spChg chg="mod">
          <ac:chgData name="勇紀 平松" userId="940ee6e9262d2cc8" providerId="LiveId" clId="{A1AC0592-02C5-412B-B09D-3DF9EC647B60}" dt="2024-07-19T10:45:40.096" v="661" actId="1038"/>
          <ac:spMkLst>
            <pc:docMk/>
            <pc:sldMk cId="3121306401" sldId="395"/>
            <ac:spMk id="8" creationId="{63954E68-8685-80FC-BC0C-9CDBD058B160}"/>
          </ac:spMkLst>
        </pc:spChg>
        <pc:spChg chg="add mod ord">
          <ac:chgData name="勇紀 平松" userId="940ee6e9262d2cc8" providerId="LiveId" clId="{A1AC0592-02C5-412B-B09D-3DF9EC647B60}" dt="2024-07-19T10:49:35.626" v="816" actId="167"/>
          <ac:spMkLst>
            <pc:docMk/>
            <pc:sldMk cId="3121306401" sldId="395"/>
            <ac:spMk id="10" creationId="{8F43B671-0562-5C9C-7383-F90FEF918620}"/>
          </ac:spMkLst>
        </pc:spChg>
        <pc:spChg chg="mod">
          <ac:chgData name="勇紀 平松" userId="940ee6e9262d2cc8" providerId="LiveId" clId="{A1AC0592-02C5-412B-B09D-3DF9EC647B60}" dt="2024-07-19T10:45:40.096" v="661" actId="1038"/>
          <ac:spMkLst>
            <pc:docMk/>
            <pc:sldMk cId="3121306401" sldId="395"/>
            <ac:spMk id="11" creationId="{20EE7300-1920-4D9C-A57E-45AB462C9AD0}"/>
          </ac:spMkLst>
        </pc:spChg>
        <pc:spChg chg="add mod ord">
          <ac:chgData name="勇紀 平松" userId="940ee6e9262d2cc8" providerId="LiveId" clId="{A1AC0592-02C5-412B-B09D-3DF9EC647B60}" dt="2024-07-19T10:49:35.626" v="816" actId="167"/>
          <ac:spMkLst>
            <pc:docMk/>
            <pc:sldMk cId="3121306401" sldId="395"/>
            <ac:spMk id="12" creationId="{E8B002CD-D0AB-C998-B3E6-954309AA7427}"/>
          </ac:spMkLst>
        </pc:spChg>
        <pc:spChg chg="add mod">
          <ac:chgData name="勇紀 平松" userId="940ee6e9262d2cc8" providerId="LiveId" clId="{A1AC0592-02C5-412B-B09D-3DF9EC647B60}" dt="2024-07-19T10:47:55.237" v="754"/>
          <ac:spMkLst>
            <pc:docMk/>
            <pc:sldMk cId="3121306401" sldId="395"/>
            <ac:spMk id="13" creationId="{746F6E84-9175-2908-B05E-7126C0A89664}"/>
          </ac:spMkLst>
        </pc:spChg>
        <pc:spChg chg="add del mod">
          <ac:chgData name="勇紀 平松" userId="940ee6e9262d2cc8" providerId="LiveId" clId="{A1AC0592-02C5-412B-B09D-3DF9EC647B60}" dt="2024-07-19T10:48:06.254" v="759"/>
          <ac:spMkLst>
            <pc:docMk/>
            <pc:sldMk cId="3121306401" sldId="395"/>
            <ac:spMk id="14" creationId="{FAA04A90-7C16-3309-09BB-CCF602DC78FE}"/>
          </ac:spMkLst>
        </pc:spChg>
        <pc:spChg chg="add mod ord">
          <ac:chgData name="勇紀 平松" userId="940ee6e9262d2cc8" providerId="LiveId" clId="{A1AC0592-02C5-412B-B09D-3DF9EC647B60}" dt="2024-07-19T10:50:20.079" v="915" actId="207"/>
          <ac:spMkLst>
            <pc:docMk/>
            <pc:sldMk cId="3121306401" sldId="395"/>
            <ac:spMk id="15" creationId="{E0281664-A86F-D1F2-79FC-74FB8E18F56C}"/>
          </ac:spMkLst>
        </pc:spChg>
        <pc:spChg chg="add mod ord">
          <ac:chgData name="勇紀 平松" userId="940ee6e9262d2cc8" providerId="LiveId" clId="{A1AC0592-02C5-412B-B09D-3DF9EC647B60}" dt="2024-07-19T10:53:33.678" v="1091" actId="113"/>
          <ac:spMkLst>
            <pc:docMk/>
            <pc:sldMk cId="3121306401" sldId="395"/>
            <ac:spMk id="16" creationId="{60C64380-8A36-142B-3CCD-C11A99102D09}"/>
          </ac:spMkLst>
        </pc:spChg>
        <pc:spChg chg="add mod ord">
          <ac:chgData name="勇紀 平松" userId="940ee6e9262d2cc8" providerId="LiveId" clId="{A1AC0592-02C5-412B-B09D-3DF9EC647B60}" dt="2024-07-19T10:52:07.729" v="931" actId="167"/>
          <ac:spMkLst>
            <pc:docMk/>
            <pc:sldMk cId="3121306401" sldId="395"/>
            <ac:spMk id="17" creationId="{FBF50FDE-9617-FE55-ABED-A4D7DF02865D}"/>
          </ac:spMkLst>
        </pc:spChg>
        <pc:spChg chg="add mod ord">
          <ac:chgData name="勇紀 平松" userId="940ee6e9262d2cc8" providerId="LiveId" clId="{A1AC0592-02C5-412B-B09D-3DF9EC647B60}" dt="2024-07-19T10:52:21.625" v="950" actId="1076"/>
          <ac:spMkLst>
            <pc:docMk/>
            <pc:sldMk cId="3121306401" sldId="395"/>
            <ac:spMk id="18" creationId="{DFD08886-64ED-D801-4375-0E359EA031F9}"/>
          </ac:spMkLst>
        </pc:spChg>
        <pc:spChg chg="add del mod ord">
          <ac:chgData name="勇紀 平松" userId="940ee6e9262d2cc8" providerId="LiveId" clId="{A1AC0592-02C5-412B-B09D-3DF9EC647B60}" dt="2024-07-19T10:52:24.184" v="951" actId="478"/>
          <ac:spMkLst>
            <pc:docMk/>
            <pc:sldMk cId="3121306401" sldId="395"/>
            <ac:spMk id="20" creationId="{83ED1A58-A2FF-8514-1E26-680EE88A133E}"/>
          </ac:spMkLst>
        </pc:spChg>
        <pc:spChg chg="add mod ord">
          <ac:chgData name="勇紀 平松" userId="940ee6e9262d2cc8" providerId="LiveId" clId="{A1AC0592-02C5-412B-B09D-3DF9EC647B60}" dt="2024-07-19T10:54:04.705" v="1122" actId="113"/>
          <ac:spMkLst>
            <pc:docMk/>
            <pc:sldMk cId="3121306401" sldId="395"/>
            <ac:spMk id="21" creationId="{BC5A516A-3391-336B-B68F-EBE83A89BD41}"/>
          </ac:spMkLst>
        </pc:spChg>
        <pc:spChg chg="mod">
          <ac:chgData name="勇紀 平松" userId="940ee6e9262d2cc8" providerId="LiveId" clId="{A1AC0592-02C5-412B-B09D-3DF9EC647B60}" dt="2024-07-19T10:54:52.675" v="1129" actId="207"/>
          <ac:spMkLst>
            <pc:docMk/>
            <pc:sldMk cId="3121306401" sldId="395"/>
            <ac:spMk id="24" creationId="{F3B460BB-4EB8-40B7-5AF1-CD2B345A15D3}"/>
          </ac:spMkLst>
        </pc:spChg>
        <pc:spChg chg="mod">
          <ac:chgData name="勇紀 平松" userId="940ee6e9262d2cc8" providerId="LiveId" clId="{A1AC0592-02C5-412B-B09D-3DF9EC647B60}" dt="2024-07-19T10:54:57.315" v="1130" actId="207"/>
          <ac:spMkLst>
            <pc:docMk/>
            <pc:sldMk cId="3121306401" sldId="395"/>
            <ac:spMk id="25" creationId="{A243E866-9020-8A59-9D7B-87904A555BD3}"/>
          </ac:spMkLst>
        </pc:spChg>
        <pc:spChg chg="mod">
          <ac:chgData name="勇紀 平松" userId="940ee6e9262d2cc8" providerId="LiveId" clId="{A1AC0592-02C5-412B-B09D-3DF9EC647B60}" dt="2024-07-19T10:45:40.096" v="661" actId="1038"/>
          <ac:spMkLst>
            <pc:docMk/>
            <pc:sldMk cId="3121306401" sldId="395"/>
            <ac:spMk id="59" creationId="{2F23C1D0-441F-4DB2-ACF2-E2DD29D0057B}"/>
          </ac:spMkLst>
        </pc:spChg>
        <pc:spChg chg="mod">
          <ac:chgData name="勇紀 平松" userId="940ee6e9262d2cc8" providerId="LiveId" clId="{A1AC0592-02C5-412B-B09D-3DF9EC647B60}" dt="2024-07-19T10:55:16.899" v="1132" actId="1076"/>
          <ac:spMkLst>
            <pc:docMk/>
            <pc:sldMk cId="3121306401" sldId="395"/>
            <ac:spMk id="522" creationId="{0807BB20-28F3-4851-947F-E1DE740240F1}"/>
          </ac:spMkLst>
        </pc:spChg>
        <pc:spChg chg="mod">
          <ac:chgData name="勇紀 平松" userId="940ee6e9262d2cc8" providerId="LiveId" clId="{A1AC0592-02C5-412B-B09D-3DF9EC647B60}" dt="2024-07-19T10:54:19.353" v="1124" actId="1076"/>
          <ac:spMkLst>
            <pc:docMk/>
            <pc:sldMk cId="3121306401" sldId="395"/>
            <ac:spMk id="523" creationId="{82BC769A-CB95-44A3-8A9C-6D3429605386}"/>
          </ac:spMkLst>
        </pc:spChg>
        <pc:grpChg chg="del">
          <ac:chgData name="勇紀 平松" userId="940ee6e9262d2cc8" providerId="LiveId" clId="{A1AC0592-02C5-412B-B09D-3DF9EC647B60}" dt="2024-07-19T10:45:22.717" v="632" actId="478"/>
          <ac:grpSpMkLst>
            <pc:docMk/>
            <pc:sldMk cId="3121306401" sldId="395"/>
            <ac:grpSpMk id="286" creationId="{B6018669-1197-4EF4-84CF-D7459A5056D7}"/>
          </ac:grpSpMkLst>
        </pc:grpChg>
        <pc:grpChg chg="del">
          <ac:chgData name="勇紀 平松" userId="940ee6e9262d2cc8" providerId="LiveId" clId="{A1AC0592-02C5-412B-B09D-3DF9EC647B60}" dt="2024-07-19T10:45:23.474" v="633" actId="478"/>
          <ac:grpSpMkLst>
            <pc:docMk/>
            <pc:sldMk cId="3121306401" sldId="395"/>
            <ac:grpSpMk id="291" creationId="{E8E02D71-8469-41C1-9C0E-6742E8EF3231}"/>
          </ac:grpSpMkLst>
        </pc:grpChg>
        <pc:grpChg chg="del">
          <ac:chgData name="勇紀 平松" userId="940ee6e9262d2cc8" providerId="LiveId" clId="{A1AC0592-02C5-412B-B09D-3DF9EC647B60}" dt="2024-07-19T10:45:24.408" v="634" actId="478"/>
          <ac:grpSpMkLst>
            <pc:docMk/>
            <pc:sldMk cId="3121306401" sldId="395"/>
            <ac:grpSpMk id="296" creationId="{FC8FE9CB-A058-4DA4-B308-1EAC0AFC8C4F}"/>
          </ac:grpSpMkLst>
        </pc:grpChg>
        <pc:grpChg chg="mod">
          <ac:chgData name="勇紀 平松" userId="940ee6e9262d2cc8" providerId="LiveId" clId="{A1AC0592-02C5-412B-B09D-3DF9EC647B60}" dt="2024-07-19T10:45:40.096" v="661" actId="1038"/>
          <ac:grpSpMkLst>
            <pc:docMk/>
            <pc:sldMk cId="3121306401" sldId="395"/>
            <ac:grpSpMk id="519" creationId="{C4EDC8C0-D0E9-4775-97EB-497B071F9319}"/>
          </ac:grpSpMkLst>
        </pc:grpChg>
        <pc:grpChg chg="mod">
          <ac:chgData name="勇紀 平松" userId="940ee6e9262d2cc8" providerId="LiveId" clId="{A1AC0592-02C5-412B-B09D-3DF9EC647B60}" dt="2024-07-19T10:45:40.096" v="661" actId="1038"/>
          <ac:grpSpMkLst>
            <pc:docMk/>
            <pc:sldMk cId="3121306401" sldId="395"/>
            <ac:grpSpMk id="524" creationId="{26F185CC-70E3-4834-8A3A-31E3C080C710}"/>
          </ac:grpSpMkLst>
        </pc:grpChg>
        <pc:grpChg chg="mod">
          <ac:chgData name="勇紀 平松" userId="940ee6e9262d2cc8" providerId="LiveId" clId="{A1AC0592-02C5-412B-B09D-3DF9EC647B60}" dt="2024-07-19T10:45:40.096" v="661" actId="1038"/>
          <ac:grpSpMkLst>
            <pc:docMk/>
            <pc:sldMk cId="3121306401" sldId="395"/>
            <ac:grpSpMk id="531" creationId="{6688AF5A-C0F0-4F00-A6F2-C1483A884702}"/>
          </ac:grpSpMkLst>
        </pc:grpChg>
        <pc:grpChg chg="mod">
          <ac:chgData name="勇紀 平松" userId="940ee6e9262d2cc8" providerId="LiveId" clId="{A1AC0592-02C5-412B-B09D-3DF9EC647B60}" dt="2024-07-19T10:45:40.096" v="661" actId="1038"/>
          <ac:grpSpMkLst>
            <pc:docMk/>
            <pc:sldMk cId="3121306401" sldId="395"/>
            <ac:grpSpMk id="538" creationId="{055F2BDE-8594-46F2-B963-85C9FD683A7C}"/>
          </ac:grpSpMkLst>
        </pc:grpChg>
        <pc:cxnChg chg="mod">
          <ac:chgData name="勇紀 平松" userId="940ee6e9262d2cc8" providerId="LiveId" clId="{A1AC0592-02C5-412B-B09D-3DF9EC647B60}" dt="2024-07-19T10:45:40.096" v="661" actId="1038"/>
          <ac:cxnSpMkLst>
            <pc:docMk/>
            <pc:sldMk cId="3121306401" sldId="395"/>
            <ac:cxnSpMk id="5" creationId="{3240B02B-5B9B-4423-B6A6-AD370F2605E8}"/>
          </ac:cxnSpMkLst>
        </pc:cxnChg>
        <pc:cxnChg chg="mod">
          <ac:chgData name="勇紀 平松" userId="940ee6e9262d2cc8" providerId="LiveId" clId="{A1AC0592-02C5-412B-B09D-3DF9EC647B60}" dt="2024-07-19T10:45:40.096" v="661" actId="1038"/>
          <ac:cxnSpMkLst>
            <pc:docMk/>
            <pc:sldMk cId="3121306401" sldId="395"/>
            <ac:cxnSpMk id="9" creationId="{B246B40E-F8BF-B34E-C957-440D63EF24BF}"/>
          </ac:cxnSpMkLst>
        </pc:cxnChg>
        <pc:cxnChg chg="mod">
          <ac:chgData name="勇紀 平松" userId="940ee6e9262d2cc8" providerId="LiveId" clId="{A1AC0592-02C5-412B-B09D-3DF9EC647B60}" dt="2024-07-19T10:45:40.096" v="661" actId="1038"/>
          <ac:cxnSpMkLst>
            <pc:docMk/>
            <pc:sldMk cId="3121306401" sldId="395"/>
            <ac:cxnSpMk id="19" creationId="{ECC7D80F-8E5A-FD10-B335-D86D4C278028}"/>
          </ac:cxnSpMkLst>
        </pc:cxnChg>
        <pc:cxnChg chg="mod">
          <ac:chgData name="勇紀 平松" userId="940ee6e9262d2cc8" providerId="LiveId" clId="{A1AC0592-02C5-412B-B09D-3DF9EC647B60}" dt="2024-07-19T10:45:40.096" v="661" actId="1038"/>
          <ac:cxnSpMkLst>
            <pc:docMk/>
            <pc:sldMk cId="3121306401" sldId="395"/>
            <ac:cxnSpMk id="22" creationId="{E763C8A5-B445-F9FE-D9D7-99C0AC40504F}"/>
          </ac:cxnSpMkLst>
        </pc:cxnChg>
        <pc:cxnChg chg="mod">
          <ac:chgData name="勇紀 平松" userId="940ee6e9262d2cc8" providerId="LiveId" clId="{A1AC0592-02C5-412B-B09D-3DF9EC647B60}" dt="2024-07-19T10:45:40.096" v="661" actId="1038"/>
          <ac:cxnSpMkLst>
            <pc:docMk/>
            <pc:sldMk cId="3121306401" sldId="395"/>
            <ac:cxnSpMk id="51" creationId="{EB3DB520-3ED2-4C70-AA82-61C0DCEDAA31}"/>
          </ac:cxnSpMkLst>
        </pc:cxnChg>
        <pc:cxnChg chg="mod">
          <ac:chgData name="勇紀 平松" userId="940ee6e9262d2cc8" providerId="LiveId" clId="{A1AC0592-02C5-412B-B09D-3DF9EC647B60}" dt="2024-07-19T10:45:40.096" v="661" actId="1038"/>
          <ac:cxnSpMkLst>
            <pc:docMk/>
            <pc:sldMk cId="3121306401" sldId="395"/>
            <ac:cxnSpMk id="53" creationId="{141B0FA2-8640-46C2-8EEF-08A3AD2BC75B}"/>
          </ac:cxnSpMkLst>
        </pc:cxnChg>
      </pc:sldChg>
      <pc:sldChg chg="addSp delSp modSp add del mod modTransition modAnim">
        <pc:chgData name="勇紀 平松" userId="940ee6e9262d2cc8" providerId="LiveId" clId="{A1AC0592-02C5-412B-B09D-3DF9EC647B60}" dt="2024-07-19T10:57:15.084" v="1235" actId="47"/>
        <pc:sldMkLst>
          <pc:docMk/>
          <pc:sldMk cId="3845460848" sldId="396"/>
        </pc:sldMkLst>
        <pc:spChg chg="mod">
          <ac:chgData name="勇紀 平松" userId="940ee6e9262d2cc8" providerId="LiveId" clId="{A1AC0592-02C5-412B-B09D-3DF9EC647B60}" dt="2024-07-19T10:57:11.957" v="1226" actId="1038"/>
          <ac:spMkLst>
            <pc:docMk/>
            <pc:sldMk cId="3845460848" sldId="396"/>
            <ac:spMk id="2" creationId="{A0411A15-F4CF-FABB-058E-36F4216B068C}"/>
          </ac:spMkLst>
        </pc:spChg>
        <pc:spChg chg="mod">
          <ac:chgData name="勇紀 平松" userId="940ee6e9262d2cc8" providerId="LiveId" clId="{A1AC0592-02C5-412B-B09D-3DF9EC647B60}" dt="2024-07-19T10:57:11.957" v="1226" actId="1038"/>
          <ac:spMkLst>
            <pc:docMk/>
            <pc:sldMk cId="3845460848" sldId="396"/>
            <ac:spMk id="4" creationId="{FFDFE4A2-E243-65B7-6637-927D214FB9DE}"/>
          </ac:spMkLst>
        </pc:spChg>
        <pc:spChg chg="mod">
          <ac:chgData name="勇紀 平松" userId="940ee6e9262d2cc8" providerId="LiveId" clId="{A1AC0592-02C5-412B-B09D-3DF9EC647B60}" dt="2024-07-19T10:57:11.957" v="1226" actId="1038"/>
          <ac:spMkLst>
            <pc:docMk/>
            <pc:sldMk cId="3845460848" sldId="396"/>
            <ac:spMk id="6" creationId="{7930B0DA-8F44-D19A-E1C1-8F0D252BC7C7}"/>
          </ac:spMkLst>
        </pc:spChg>
        <pc:spChg chg="mod">
          <ac:chgData name="勇紀 平松" userId="940ee6e9262d2cc8" providerId="LiveId" clId="{A1AC0592-02C5-412B-B09D-3DF9EC647B60}" dt="2024-07-19T10:57:11.957" v="1226" actId="1038"/>
          <ac:spMkLst>
            <pc:docMk/>
            <pc:sldMk cId="3845460848" sldId="396"/>
            <ac:spMk id="7" creationId="{F0AB69BC-760C-1F2C-B7EC-322EDF393F0B}"/>
          </ac:spMkLst>
        </pc:spChg>
        <pc:spChg chg="mod">
          <ac:chgData name="勇紀 平松" userId="940ee6e9262d2cc8" providerId="LiveId" clId="{A1AC0592-02C5-412B-B09D-3DF9EC647B60}" dt="2024-07-19T10:57:11.957" v="1226" actId="1038"/>
          <ac:spMkLst>
            <pc:docMk/>
            <pc:sldMk cId="3845460848" sldId="396"/>
            <ac:spMk id="8" creationId="{63954E68-8685-80FC-BC0C-9CDBD058B160}"/>
          </ac:spMkLst>
        </pc:spChg>
        <pc:spChg chg="add mod">
          <ac:chgData name="勇紀 平松" userId="940ee6e9262d2cc8" providerId="LiveId" clId="{A1AC0592-02C5-412B-B09D-3DF9EC647B60}" dt="2024-07-19T10:55:32.208" v="1137"/>
          <ac:spMkLst>
            <pc:docMk/>
            <pc:sldMk cId="3845460848" sldId="396"/>
            <ac:spMk id="10" creationId="{9D34E216-9A12-9540-4C78-3BEB11AD7C0E}"/>
          </ac:spMkLst>
        </pc:spChg>
        <pc:spChg chg="mod">
          <ac:chgData name="勇紀 平松" userId="940ee6e9262d2cc8" providerId="LiveId" clId="{A1AC0592-02C5-412B-B09D-3DF9EC647B60}" dt="2024-07-19T10:57:11.957" v="1226" actId="1038"/>
          <ac:spMkLst>
            <pc:docMk/>
            <pc:sldMk cId="3845460848" sldId="396"/>
            <ac:spMk id="11" creationId="{20EE7300-1920-4D9C-A57E-45AB462C9AD0}"/>
          </ac:spMkLst>
        </pc:spChg>
        <pc:spChg chg="add mod">
          <ac:chgData name="勇紀 平松" userId="940ee6e9262d2cc8" providerId="LiveId" clId="{A1AC0592-02C5-412B-B09D-3DF9EC647B60}" dt="2024-07-19T10:55:32.208" v="1137"/>
          <ac:spMkLst>
            <pc:docMk/>
            <pc:sldMk cId="3845460848" sldId="396"/>
            <ac:spMk id="12" creationId="{CB98F221-1AFA-5007-BF37-B06A764F882D}"/>
          </ac:spMkLst>
        </pc:spChg>
        <pc:spChg chg="add mod">
          <ac:chgData name="勇紀 平松" userId="940ee6e9262d2cc8" providerId="LiveId" clId="{A1AC0592-02C5-412B-B09D-3DF9EC647B60}" dt="2024-07-19T10:55:32.208" v="1137"/>
          <ac:spMkLst>
            <pc:docMk/>
            <pc:sldMk cId="3845460848" sldId="396"/>
            <ac:spMk id="13" creationId="{A0D53877-51C5-34BE-6F15-F52A58846A15}"/>
          </ac:spMkLst>
        </pc:spChg>
        <pc:spChg chg="add mod">
          <ac:chgData name="勇紀 平松" userId="940ee6e9262d2cc8" providerId="LiveId" clId="{A1AC0592-02C5-412B-B09D-3DF9EC647B60}" dt="2024-07-19T10:55:32.208" v="1137"/>
          <ac:spMkLst>
            <pc:docMk/>
            <pc:sldMk cId="3845460848" sldId="396"/>
            <ac:spMk id="14" creationId="{A0EC9099-1537-34DE-A932-FAF33F7A2511}"/>
          </ac:spMkLst>
        </pc:spChg>
        <pc:spChg chg="add mod">
          <ac:chgData name="勇紀 平松" userId="940ee6e9262d2cc8" providerId="LiveId" clId="{A1AC0592-02C5-412B-B09D-3DF9EC647B60}" dt="2024-07-19T10:55:32.208" v="1137"/>
          <ac:spMkLst>
            <pc:docMk/>
            <pc:sldMk cId="3845460848" sldId="396"/>
            <ac:spMk id="15" creationId="{2343647F-9586-A4CE-68DE-A42A6DB542F5}"/>
          </ac:spMkLst>
        </pc:spChg>
        <pc:spChg chg="add mod">
          <ac:chgData name="勇紀 平松" userId="940ee6e9262d2cc8" providerId="LiveId" clId="{A1AC0592-02C5-412B-B09D-3DF9EC647B60}" dt="2024-07-19T10:55:32.208" v="1137"/>
          <ac:spMkLst>
            <pc:docMk/>
            <pc:sldMk cId="3845460848" sldId="396"/>
            <ac:spMk id="16" creationId="{575A1743-E5C5-629C-FA52-E6CCDA65287D}"/>
          </ac:spMkLst>
        </pc:spChg>
        <pc:spChg chg="add mod">
          <ac:chgData name="勇紀 平松" userId="940ee6e9262d2cc8" providerId="LiveId" clId="{A1AC0592-02C5-412B-B09D-3DF9EC647B60}" dt="2024-07-19T10:55:32.208" v="1137"/>
          <ac:spMkLst>
            <pc:docMk/>
            <pc:sldMk cId="3845460848" sldId="396"/>
            <ac:spMk id="17" creationId="{84E2A2C0-D0C8-0FA4-A08B-88589AE65E32}"/>
          </ac:spMkLst>
        </pc:spChg>
        <pc:spChg chg="mod">
          <ac:chgData name="勇紀 平松" userId="940ee6e9262d2cc8" providerId="LiveId" clId="{A1AC0592-02C5-412B-B09D-3DF9EC647B60}" dt="2024-07-19T10:57:11.957" v="1226" actId="1038"/>
          <ac:spMkLst>
            <pc:docMk/>
            <pc:sldMk cId="3845460848" sldId="396"/>
            <ac:spMk id="24" creationId="{F3B460BB-4EB8-40B7-5AF1-CD2B345A15D3}"/>
          </ac:spMkLst>
        </pc:spChg>
        <pc:spChg chg="mod">
          <ac:chgData name="勇紀 平松" userId="940ee6e9262d2cc8" providerId="LiveId" clId="{A1AC0592-02C5-412B-B09D-3DF9EC647B60}" dt="2024-07-19T10:57:11.957" v="1226" actId="1038"/>
          <ac:spMkLst>
            <pc:docMk/>
            <pc:sldMk cId="3845460848" sldId="396"/>
            <ac:spMk id="25" creationId="{A243E866-9020-8A59-9D7B-87904A555BD3}"/>
          </ac:spMkLst>
        </pc:spChg>
        <pc:spChg chg="mod">
          <ac:chgData name="勇紀 平松" userId="940ee6e9262d2cc8" providerId="LiveId" clId="{A1AC0592-02C5-412B-B09D-3DF9EC647B60}" dt="2024-07-19T10:57:11.957" v="1226" actId="1038"/>
          <ac:spMkLst>
            <pc:docMk/>
            <pc:sldMk cId="3845460848" sldId="396"/>
            <ac:spMk id="59" creationId="{2F23C1D0-441F-4DB2-ACF2-E2DD29D0057B}"/>
          </ac:spMkLst>
        </pc:spChg>
        <pc:spChg chg="mod">
          <ac:chgData name="勇紀 平松" userId="940ee6e9262d2cc8" providerId="LiveId" clId="{A1AC0592-02C5-412B-B09D-3DF9EC647B60}" dt="2024-07-19T10:55:42.452" v="1154" actId="20577"/>
          <ac:spMkLst>
            <pc:docMk/>
            <pc:sldMk cId="3845460848" sldId="396"/>
            <ac:spMk id="522" creationId="{0807BB20-28F3-4851-947F-E1DE740240F1}"/>
          </ac:spMkLst>
        </pc:spChg>
        <pc:grpChg chg="del">
          <ac:chgData name="勇紀 平松" userId="940ee6e9262d2cc8" providerId="LiveId" clId="{A1AC0592-02C5-412B-B09D-3DF9EC647B60}" dt="2024-07-19T10:55:30.909" v="1136" actId="478"/>
          <ac:grpSpMkLst>
            <pc:docMk/>
            <pc:sldMk cId="3845460848" sldId="396"/>
            <ac:grpSpMk id="286" creationId="{B6018669-1197-4EF4-84CF-D7459A5056D7}"/>
          </ac:grpSpMkLst>
        </pc:grpChg>
        <pc:grpChg chg="del">
          <ac:chgData name="勇紀 平松" userId="940ee6e9262d2cc8" providerId="LiveId" clId="{A1AC0592-02C5-412B-B09D-3DF9EC647B60}" dt="2024-07-19T10:55:28.917" v="1135" actId="478"/>
          <ac:grpSpMkLst>
            <pc:docMk/>
            <pc:sldMk cId="3845460848" sldId="396"/>
            <ac:grpSpMk id="291" creationId="{E8E02D71-8469-41C1-9C0E-6742E8EF3231}"/>
          </ac:grpSpMkLst>
        </pc:grpChg>
        <pc:grpChg chg="del">
          <ac:chgData name="勇紀 平松" userId="940ee6e9262d2cc8" providerId="LiveId" clId="{A1AC0592-02C5-412B-B09D-3DF9EC647B60}" dt="2024-07-19T10:55:28.368" v="1134" actId="478"/>
          <ac:grpSpMkLst>
            <pc:docMk/>
            <pc:sldMk cId="3845460848" sldId="396"/>
            <ac:grpSpMk id="296" creationId="{FC8FE9CB-A058-4DA4-B308-1EAC0AFC8C4F}"/>
          </ac:grpSpMkLst>
        </pc:grpChg>
        <pc:grpChg chg="mod">
          <ac:chgData name="勇紀 平松" userId="940ee6e9262d2cc8" providerId="LiveId" clId="{A1AC0592-02C5-412B-B09D-3DF9EC647B60}" dt="2024-07-19T10:57:11.957" v="1226" actId="1038"/>
          <ac:grpSpMkLst>
            <pc:docMk/>
            <pc:sldMk cId="3845460848" sldId="396"/>
            <ac:grpSpMk id="519" creationId="{C4EDC8C0-D0E9-4775-97EB-497B071F9319}"/>
          </ac:grpSpMkLst>
        </pc:grpChg>
        <pc:grpChg chg="mod">
          <ac:chgData name="勇紀 平松" userId="940ee6e9262d2cc8" providerId="LiveId" clId="{A1AC0592-02C5-412B-B09D-3DF9EC647B60}" dt="2024-07-19T10:57:11.957" v="1226" actId="1038"/>
          <ac:grpSpMkLst>
            <pc:docMk/>
            <pc:sldMk cId="3845460848" sldId="396"/>
            <ac:grpSpMk id="524" creationId="{26F185CC-70E3-4834-8A3A-31E3C080C710}"/>
          </ac:grpSpMkLst>
        </pc:grpChg>
        <pc:grpChg chg="mod">
          <ac:chgData name="勇紀 平松" userId="940ee6e9262d2cc8" providerId="LiveId" clId="{A1AC0592-02C5-412B-B09D-3DF9EC647B60}" dt="2024-07-19T10:57:11.957" v="1226" actId="1038"/>
          <ac:grpSpMkLst>
            <pc:docMk/>
            <pc:sldMk cId="3845460848" sldId="396"/>
            <ac:grpSpMk id="531" creationId="{6688AF5A-C0F0-4F00-A6F2-C1483A884702}"/>
          </ac:grpSpMkLst>
        </pc:grpChg>
        <pc:grpChg chg="mod">
          <ac:chgData name="勇紀 平松" userId="940ee6e9262d2cc8" providerId="LiveId" clId="{A1AC0592-02C5-412B-B09D-3DF9EC647B60}" dt="2024-07-19T10:57:11.957" v="1226" actId="1038"/>
          <ac:grpSpMkLst>
            <pc:docMk/>
            <pc:sldMk cId="3845460848" sldId="396"/>
            <ac:grpSpMk id="538" creationId="{055F2BDE-8594-46F2-B963-85C9FD683A7C}"/>
          </ac:grpSpMkLst>
        </pc:grpChg>
        <pc:cxnChg chg="mod">
          <ac:chgData name="勇紀 平松" userId="940ee6e9262d2cc8" providerId="LiveId" clId="{A1AC0592-02C5-412B-B09D-3DF9EC647B60}" dt="2024-07-19T10:57:11.957" v="1226" actId="1038"/>
          <ac:cxnSpMkLst>
            <pc:docMk/>
            <pc:sldMk cId="3845460848" sldId="396"/>
            <ac:cxnSpMk id="5" creationId="{3240B02B-5B9B-4423-B6A6-AD370F2605E8}"/>
          </ac:cxnSpMkLst>
        </pc:cxnChg>
        <pc:cxnChg chg="mod">
          <ac:chgData name="勇紀 平松" userId="940ee6e9262d2cc8" providerId="LiveId" clId="{A1AC0592-02C5-412B-B09D-3DF9EC647B60}" dt="2024-07-19T10:57:11.957" v="1226" actId="1038"/>
          <ac:cxnSpMkLst>
            <pc:docMk/>
            <pc:sldMk cId="3845460848" sldId="396"/>
            <ac:cxnSpMk id="9" creationId="{B246B40E-F8BF-B34E-C957-440D63EF24BF}"/>
          </ac:cxnSpMkLst>
        </pc:cxnChg>
        <pc:cxnChg chg="mod">
          <ac:chgData name="勇紀 平松" userId="940ee6e9262d2cc8" providerId="LiveId" clId="{A1AC0592-02C5-412B-B09D-3DF9EC647B60}" dt="2024-07-19T10:57:11.957" v="1226" actId="1038"/>
          <ac:cxnSpMkLst>
            <pc:docMk/>
            <pc:sldMk cId="3845460848" sldId="396"/>
            <ac:cxnSpMk id="19" creationId="{ECC7D80F-8E5A-FD10-B335-D86D4C278028}"/>
          </ac:cxnSpMkLst>
        </pc:cxnChg>
        <pc:cxnChg chg="mod">
          <ac:chgData name="勇紀 平松" userId="940ee6e9262d2cc8" providerId="LiveId" clId="{A1AC0592-02C5-412B-B09D-3DF9EC647B60}" dt="2024-07-19T10:57:11.957" v="1226" actId="1038"/>
          <ac:cxnSpMkLst>
            <pc:docMk/>
            <pc:sldMk cId="3845460848" sldId="396"/>
            <ac:cxnSpMk id="22" creationId="{E763C8A5-B445-F9FE-D9D7-99C0AC40504F}"/>
          </ac:cxnSpMkLst>
        </pc:cxnChg>
        <pc:cxnChg chg="mod">
          <ac:chgData name="勇紀 平松" userId="940ee6e9262d2cc8" providerId="LiveId" clId="{A1AC0592-02C5-412B-B09D-3DF9EC647B60}" dt="2024-07-19T10:57:11.957" v="1226" actId="1038"/>
          <ac:cxnSpMkLst>
            <pc:docMk/>
            <pc:sldMk cId="3845460848" sldId="396"/>
            <ac:cxnSpMk id="51" creationId="{EB3DB520-3ED2-4C70-AA82-61C0DCEDAA31}"/>
          </ac:cxnSpMkLst>
        </pc:cxnChg>
        <pc:cxnChg chg="mod">
          <ac:chgData name="勇紀 平松" userId="940ee6e9262d2cc8" providerId="LiveId" clId="{A1AC0592-02C5-412B-B09D-3DF9EC647B60}" dt="2024-07-19T10:57:11.957" v="1226" actId="1038"/>
          <ac:cxnSpMkLst>
            <pc:docMk/>
            <pc:sldMk cId="3845460848" sldId="396"/>
            <ac:cxnSpMk id="53" creationId="{141B0FA2-8640-46C2-8EEF-08A3AD2BC75B}"/>
          </ac:cxnSpMkLst>
        </pc:cxnChg>
      </pc:sldChg>
      <pc:sldMasterChg chg="delSldLayout">
        <pc:chgData name="勇紀 平松" userId="940ee6e9262d2cc8" providerId="LiveId" clId="{A1AC0592-02C5-412B-B09D-3DF9EC647B60}" dt="2024-07-19T09:58:06.496" v="259" actId="2696"/>
        <pc:sldMasterMkLst>
          <pc:docMk/>
          <pc:sldMasterMk cId="3589121936" sldId="2147483648"/>
        </pc:sldMasterMkLst>
        <pc:sldLayoutChg chg="del">
          <pc:chgData name="勇紀 平松" userId="940ee6e9262d2cc8" providerId="LiveId" clId="{A1AC0592-02C5-412B-B09D-3DF9EC647B60}" dt="2024-07-19T09:58:06.496" v="259" actId="2696"/>
          <pc:sldLayoutMkLst>
            <pc:docMk/>
            <pc:sldMasterMk cId="3589121936" sldId="2147483648"/>
            <pc:sldLayoutMk cId="1598508291" sldId="2147483661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DAC577-75C7-4080-9F2B-7610700450B9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F3253D-2F76-45DD-B3C1-4C72D74B0AE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374821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337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173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F08920B-7289-CB21-FC37-34F351C0F6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36DEA7B1-B9B2-5022-BCC8-38CBCC4BDD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5418C63D-AB28-33A2-7E6F-1FC5602CC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893F7971-69F0-1132-E0CC-28CD39728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A1CD815-4D42-61CD-D3F6-3BDA5A94E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45206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62F8865-6982-906A-3661-703D3BB331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8917F08F-EA2B-0678-14CA-448668E43D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CCE80336-F641-4775-F82D-947A15129C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85914870-A75A-9619-1472-89C426708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2416F35-859D-92B8-7DE3-C7F069491E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764742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03C364C9-D53B-E6DE-A33E-94302B98153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E6B017AF-C230-4007-15E1-7F0BEF6043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81294DF5-6A28-2B5B-D8AD-56ABE27109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C3230077-229E-F648-8392-77FD72F445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6F07C90B-13E1-3473-8909-6DC5903DC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64237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0947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88914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0099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EABFD52-150F-A635-0FC2-5B4B8E1D3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9B88E4C0-F785-6C01-31D8-F4EAC57D61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DF4B2C05-1889-78F9-4E26-D380AA647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813DC15A-4E2C-9ED6-9746-BCF521A62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066E4B0-12FA-8F12-406C-C04F26575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572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F45ED99-7C08-AC19-712D-01EE1684AA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1036250-DF17-F65C-3C3E-D3C8CE7226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E4DAA68-4562-002F-5EC9-9E6AB6BA1F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8E969048-1C1D-E918-1F78-D0FD3914E0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D77385D-786D-27F9-8639-AD0C087CE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4196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393CEF8-AADB-6937-B97E-D970EA531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E66073D8-3FDB-7767-F482-5A42015F73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4A357759-AFC7-9396-3A3A-99AF8C5777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B73F8D14-56EF-4399-8EC1-0CEF20A20E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51F90BDE-E3B8-D3F9-C65A-B33AEE336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66D746CF-3428-6617-C508-F7D02C019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042183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E470ACA-C58F-3F63-F320-83A57C5D3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9AD4857-B6D4-FC02-7F52-AE57A9C9F2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778C3A4B-B7D1-1CAA-55A7-19ADE4CDBE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67709E97-D919-662C-4D3C-48D7DA68A6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43C1D1C5-B1D4-ED4D-F682-99081E86D1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A32DC54A-A75B-5ECC-1ADA-CE0C86721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6D445490-6FC5-1164-9D72-0301DC7AC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6BA34A08-7620-68CF-956D-9BABBA1C2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12802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2F5F7EB-07F4-BAE0-7528-F0E820700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474CE9B2-CEBA-F490-C502-3E907C0880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49DE4BCD-26D6-FB3C-1F2E-3B5855166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E7E0E15D-1DA8-07EF-D855-E8C95B4C9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742941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3982DA2D-B53B-D6F7-0B72-11F4B917BD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55644E18-2880-9D2A-11E4-494DEACD8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0A3D39A2-5207-C8AA-8FBB-1E1215B3B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19522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89E69A5-7D42-182C-5B53-5E7A9F914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480FDEA6-CB7C-44F2-6874-5A5F47D109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EBD5B2D6-40E1-0312-77BB-BCB72A08BB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AD1E44BD-3C83-1566-6B17-84EFED876D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401B8587-66F8-F467-591F-790494E1A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77745E7B-F28D-2B38-297F-694944AF5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001124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ED0FC33-A49D-EC6D-C926-A5C8DC73E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9A98CA8F-9251-7776-1AD0-CA096023C33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282BEA9D-17C0-2200-D065-722DEF37B3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D7C49D6C-09CE-C98F-8CA8-8FA1A88C6A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A9C27727-ABEA-56E7-3930-9903DABC1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9F2E5D0E-F96F-9AB7-8467-4D829BD719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14442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BF220BD6-A9B7-95FA-1F97-4204DFED87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5D1D487-FDE7-B1D4-87A8-6341402DE6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8219E14-AEE8-1EFC-B061-3A0752D02C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0DC2838-1C36-4C68-B907-CE4AB6C4808B}" type="datetimeFigureOut">
              <a:rPr kumimoji="1" lang="ja-JP" altLang="en-US" smtClean="0"/>
              <a:t>2024/7/19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B54735A-A72D-F39D-0C1D-AB5195A5C1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528EE4E9-E62D-415A-CBF8-3213B6E6E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17D2760-7826-44D4-B479-64DEF686120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89121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github.com/Yuki1005/Graduation-thesis" TargetMode="Externa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53C93CB1-E54B-4CBB-B908-61F0DBCB68DC}"/>
              </a:ext>
            </a:extLst>
          </p:cNvPr>
          <p:cNvSpPr/>
          <p:nvPr/>
        </p:nvSpPr>
        <p:spPr>
          <a:xfrm>
            <a:off x="6366139" y="3620190"/>
            <a:ext cx="4387781" cy="323781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768D9E06-35BB-44D6-AA4E-4A122F5CCE2D}"/>
              </a:ext>
            </a:extLst>
          </p:cNvPr>
          <p:cNvSpPr/>
          <p:nvPr/>
        </p:nvSpPr>
        <p:spPr>
          <a:xfrm>
            <a:off x="-3073637" y="2528718"/>
            <a:ext cx="5866910" cy="4329282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272DCCE5-82ED-40AB-B635-3F2CEBDDE18D}"/>
              </a:ext>
            </a:extLst>
          </p:cNvPr>
          <p:cNvSpPr/>
          <p:nvPr/>
        </p:nvSpPr>
        <p:spPr>
          <a:xfrm rot="10800000">
            <a:off x="6096000" y="-4405"/>
            <a:ext cx="6217025" cy="4587637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36E121B4-983D-45E9-B113-36ACF06F55B0}"/>
              </a:ext>
            </a:extLst>
          </p:cNvPr>
          <p:cNvSpPr/>
          <p:nvPr/>
        </p:nvSpPr>
        <p:spPr>
          <a:xfrm rot="10800000">
            <a:off x="5356283" y="0"/>
            <a:ext cx="9429195" cy="10520696"/>
          </a:xfrm>
          <a:custGeom>
            <a:avLst/>
            <a:gdLst>
              <a:gd name="connsiteX0" fmla="*/ 897 w 9429195"/>
              <a:gd name="connsiteY0" fmla="*/ 6896100 h 10520696"/>
              <a:gd name="connsiteX1" fmla="*/ 0 w 9429195"/>
              <a:gd name="connsiteY1" fmla="*/ 6896100 h 10520696"/>
              <a:gd name="connsiteX2" fmla="*/ 2452986 w 9429195"/>
              <a:gd name="connsiteY2" fmla="*/ 3275910 h 10520696"/>
              <a:gd name="connsiteX3" fmla="*/ 2453883 w 9429195"/>
              <a:gd name="connsiteY3" fmla="*/ 3275910 h 10520696"/>
              <a:gd name="connsiteX4" fmla="*/ 2465031 w 9429195"/>
              <a:gd name="connsiteY4" fmla="*/ 10520696 h 10520696"/>
              <a:gd name="connsiteX5" fmla="*/ 2464134 w 9429195"/>
              <a:gd name="connsiteY5" fmla="*/ 10520696 h 10520696"/>
              <a:gd name="connsiteX6" fmla="*/ 4917120 w 9429195"/>
              <a:gd name="connsiteY6" fmla="*/ 6900506 h 10520696"/>
              <a:gd name="connsiteX7" fmla="*/ 4918017 w 9429195"/>
              <a:gd name="connsiteY7" fmla="*/ 6900506 h 10520696"/>
              <a:gd name="connsiteX8" fmla="*/ 9429195 w 9429195"/>
              <a:gd name="connsiteY8" fmla="*/ 10520696 h 10520696"/>
              <a:gd name="connsiteX9" fmla="*/ 8682056 w 9429195"/>
              <a:gd name="connsiteY9" fmla="*/ 10520696 h 10520696"/>
              <a:gd name="connsiteX10" fmla="*/ 6226085 w 9429195"/>
              <a:gd name="connsiteY10" fmla="*/ 6896100 h 10520696"/>
              <a:gd name="connsiteX11" fmla="*/ 6217922 w 9429195"/>
              <a:gd name="connsiteY11" fmla="*/ 6896100 h 10520696"/>
              <a:gd name="connsiteX12" fmla="*/ 3109410 w 9429195"/>
              <a:gd name="connsiteY12" fmla="*/ 2308463 h 10520696"/>
              <a:gd name="connsiteX13" fmla="*/ 3108185 w 9429195"/>
              <a:gd name="connsiteY13" fmla="*/ 2310271 h 10520696"/>
              <a:gd name="connsiteX14" fmla="*/ 1542781 w 9429195"/>
              <a:gd name="connsiteY14" fmla="*/ 0 h 10520696"/>
              <a:gd name="connsiteX15" fmla="*/ 2281046 w 9429195"/>
              <a:gd name="connsiteY15" fmla="*/ 0 h 10520696"/>
              <a:gd name="connsiteX16" fmla="*/ 3476869 w 9429195"/>
              <a:gd name="connsiteY16" fmla="*/ 1764832 h 10520696"/>
              <a:gd name="connsiteX17" fmla="*/ 3482531 w 9429195"/>
              <a:gd name="connsiteY17" fmla="*/ 1756476 h 10520696"/>
              <a:gd name="connsiteX18" fmla="*/ 5942583 w 9429195"/>
              <a:gd name="connsiteY18" fmla="*/ 5387096 h 10520696"/>
              <a:gd name="connsiteX19" fmla="*/ 5946665 w 9429195"/>
              <a:gd name="connsiteY19" fmla="*/ 5381072 h 10520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429195" h="10520696">
                <a:moveTo>
                  <a:pt x="897" y="6896100"/>
                </a:moveTo>
                <a:lnTo>
                  <a:pt x="0" y="6896100"/>
                </a:lnTo>
                <a:lnTo>
                  <a:pt x="2452986" y="3275910"/>
                </a:lnTo>
                <a:lnTo>
                  <a:pt x="2453883" y="3275910"/>
                </a:lnTo>
                <a:close/>
                <a:moveTo>
                  <a:pt x="2465031" y="10520696"/>
                </a:moveTo>
                <a:lnTo>
                  <a:pt x="2464134" y="10520696"/>
                </a:lnTo>
                <a:lnTo>
                  <a:pt x="4917120" y="6900506"/>
                </a:lnTo>
                <a:lnTo>
                  <a:pt x="4918017" y="6900506"/>
                </a:lnTo>
                <a:close/>
                <a:moveTo>
                  <a:pt x="9429195" y="10520696"/>
                </a:moveTo>
                <a:lnTo>
                  <a:pt x="8682056" y="10520696"/>
                </a:lnTo>
                <a:lnTo>
                  <a:pt x="6226085" y="6896100"/>
                </a:lnTo>
                <a:lnTo>
                  <a:pt x="6217922" y="6896100"/>
                </a:lnTo>
                <a:lnTo>
                  <a:pt x="3109410" y="2308463"/>
                </a:lnTo>
                <a:lnTo>
                  <a:pt x="3108185" y="2310271"/>
                </a:lnTo>
                <a:lnTo>
                  <a:pt x="1542781" y="0"/>
                </a:lnTo>
                <a:lnTo>
                  <a:pt x="2281046" y="0"/>
                </a:lnTo>
                <a:lnTo>
                  <a:pt x="3476869" y="1764832"/>
                </a:lnTo>
                <a:lnTo>
                  <a:pt x="3482531" y="1756476"/>
                </a:lnTo>
                <a:lnTo>
                  <a:pt x="5942583" y="5387096"/>
                </a:lnTo>
                <a:lnTo>
                  <a:pt x="5946665" y="5381072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DF4DDF27-E3AE-4FDA-9A66-7C95955FE16E}"/>
              </a:ext>
            </a:extLst>
          </p:cNvPr>
          <p:cNvSpPr txBox="1">
            <a:spLocks/>
          </p:cNvSpPr>
          <p:nvPr/>
        </p:nvSpPr>
        <p:spPr>
          <a:xfrm>
            <a:off x="1438595" y="2922456"/>
            <a:ext cx="6859208" cy="707886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ja-JP" altLang="en-US" sz="1400" dirty="0"/>
              <a:t> 昼食選択および希望地経由を考慮する</a:t>
            </a:r>
            <a:endParaRPr lang="en-US" altLang="ja-JP" sz="1400" dirty="0"/>
          </a:p>
          <a:p>
            <a:r>
              <a:rPr lang="ja-JP" altLang="en-US" sz="1400" dirty="0"/>
              <a:t> 時間</a:t>
            </a:r>
            <a:r>
              <a:rPr kumimoji="1" lang="ja-JP" altLang="en-US" sz="1400" dirty="0"/>
              <a:t>制約付き巡回セールスマン問題を用いた</a:t>
            </a:r>
            <a:endParaRPr kumimoji="1" lang="en-US" altLang="ja-JP" sz="1400" dirty="0"/>
          </a:p>
          <a:p>
            <a:r>
              <a:rPr kumimoji="1" lang="ja-JP" altLang="en-US" dirty="0">
                <a:latin typeface="+mn-ea"/>
                <a:ea typeface="+mn-ea"/>
              </a:rPr>
              <a:t>目的地までのプラン最適化問題</a:t>
            </a:r>
          </a:p>
        </p:txBody>
      </p:sp>
      <p:sp>
        <p:nvSpPr>
          <p:cNvPr id="26" name="Subtitle 7">
            <a:extLst>
              <a:ext uri="{FF2B5EF4-FFF2-40B4-BE49-F238E27FC236}">
                <a16:creationId xmlns:a16="http://schemas.microsoft.com/office/drawing/2014/main" id="{2477E8EB-525B-4F55-B72F-5F02A681B722}"/>
              </a:ext>
            </a:extLst>
          </p:cNvPr>
          <p:cNvSpPr txBox="1">
            <a:spLocks/>
          </p:cNvSpPr>
          <p:nvPr/>
        </p:nvSpPr>
        <p:spPr>
          <a:xfrm>
            <a:off x="1504668" y="4206791"/>
            <a:ext cx="6859208" cy="492443"/>
          </a:xfrm>
          <a:prstGeom prst="rect">
            <a:avLst/>
          </a:prstGeom>
        </p:spPr>
        <p:txBody>
          <a:bodyPr/>
          <a:lstStyle>
            <a:lvl1pPr marL="0" indent="0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2" indent="-196046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337" indent="-267335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32" indent="-158781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033" indent="-128054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ja-JP" altLang="en-US" kern="0" dirty="0">
                <a:latin typeface="+mn-ea"/>
              </a:rPr>
              <a:t>平松 勇紀 </a:t>
            </a:r>
            <a:r>
              <a:rPr lang="en-GB" kern="0" dirty="0">
                <a:latin typeface="+mn-ea"/>
              </a:rPr>
              <a:t>| 07 / 25 / 2024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47D4ECEE-A0E7-41B0-ABFD-0920356FB106}"/>
              </a:ext>
            </a:extLst>
          </p:cNvPr>
          <p:cNvSpPr txBox="1">
            <a:spLocks/>
          </p:cNvSpPr>
          <p:nvPr/>
        </p:nvSpPr>
        <p:spPr>
          <a:xfrm>
            <a:off x="1492539" y="3682272"/>
            <a:ext cx="6841373" cy="430887"/>
          </a:xfrm>
          <a:prstGeom prst="rect">
            <a:avLst/>
          </a:prstGeom>
        </p:spPr>
        <p:txBody>
          <a:bodyPr/>
          <a:lstStyle>
            <a:lvl1pPr marL="0" indent="0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2" indent="-196046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337" indent="-267335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32" indent="-158781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033" indent="-128054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ja-JP" altLang="en-US" sz="2000" kern="0" dirty="0"/>
              <a:t>企画発表</a:t>
            </a:r>
            <a:endParaRPr lang="en-IN" sz="2000" kern="0" dirty="0"/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36EDA263-0083-49CE-82CA-70184DA49DBB}"/>
              </a:ext>
            </a:extLst>
          </p:cNvPr>
          <p:cNvSpPr/>
          <p:nvPr/>
        </p:nvSpPr>
        <p:spPr>
          <a:xfrm rot="5400000">
            <a:off x="1045644" y="2999003"/>
            <a:ext cx="350163" cy="274423"/>
          </a:xfrm>
          <a:prstGeom prst="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6A089CA-A49A-42E2-9588-FA028EAF01F5}"/>
              </a:ext>
            </a:extLst>
          </p:cNvPr>
          <p:cNvSpPr/>
          <p:nvPr/>
        </p:nvSpPr>
        <p:spPr>
          <a:xfrm>
            <a:off x="7940040" y="603921"/>
            <a:ext cx="2331720" cy="1109347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pic>
        <p:nvPicPr>
          <p:cNvPr id="6" name="図 5" descr="アイコン&#10;&#10;自動的に生成された説明">
            <a:hlinkClick r:id="rId2"/>
            <a:extLst>
              <a:ext uri="{FF2B5EF4-FFF2-40B4-BE49-F238E27FC236}">
                <a16:creationId xmlns:a16="http://schemas.microsoft.com/office/drawing/2014/main" id="{D8000526-BCE9-D42E-91A6-3445C35C0F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5746" y="963145"/>
            <a:ext cx="719328" cy="719328"/>
          </a:xfrm>
          <a:prstGeom prst="rect">
            <a:avLst/>
          </a:prstGeom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D2340A96-19C8-AA39-F26A-C691A5A804FA}"/>
              </a:ext>
            </a:extLst>
          </p:cNvPr>
          <p:cNvSpPr txBox="1"/>
          <p:nvPr/>
        </p:nvSpPr>
        <p:spPr>
          <a:xfrm>
            <a:off x="8007374" y="1121449"/>
            <a:ext cx="1838036" cy="391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b="1" dirty="0">
                <a:solidFill>
                  <a:schemeClr val="bg1"/>
                </a:solidFill>
              </a:rPr>
              <a:t>現状の資料</a:t>
            </a:r>
          </a:p>
        </p:txBody>
      </p:sp>
    </p:spTree>
    <p:extLst>
      <p:ext uri="{BB962C8B-B14F-4D97-AF65-F5344CB8AC3E}">
        <p14:creationId xmlns:p14="http://schemas.microsoft.com/office/powerpoint/2010/main" val="3749763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0B5CEC59-68B0-0AA3-FDBE-05290147AEDD}"/>
              </a:ext>
            </a:extLst>
          </p:cNvPr>
          <p:cNvGrpSpPr/>
          <p:nvPr/>
        </p:nvGrpSpPr>
        <p:grpSpPr>
          <a:xfrm>
            <a:off x="170051" y="2152650"/>
            <a:ext cx="11381139" cy="7499998"/>
            <a:chOff x="207649" y="1905314"/>
            <a:chExt cx="11523313" cy="7651770"/>
          </a:xfrm>
        </p:grpSpPr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51437B84-F254-81FB-4C18-7B2953AE2776}"/>
                </a:ext>
              </a:extLst>
            </p:cNvPr>
            <p:cNvSpPr/>
            <p:nvPr/>
          </p:nvSpPr>
          <p:spPr>
            <a:xfrm>
              <a:off x="684289" y="4093364"/>
              <a:ext cx="11046673" cy="115503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12" name="グループ化 11">
              <a:extLst>
                <a:ext uri="{FF2B5EF4-FFF2-40B4-BE49-F238E27FC236}">
                  <a16:creationId xmlns:a16="http://schemas.microsoft.com/office/drawing/2014/main" id="{C4807E91-4F22-4160-4132-817FCE139096}"/>
                </a:ext>
              </a:extLst>
            </p:cNvPr>
            <p:cNvGrpSpPr/>
            <p:nvPr/>
          </p:nvGrpSpPr>
          <p:grpSpPr>
            <a:xfrm>
              <a:off x="2923509" y="3865250"/>
              <a:ext cx="5691834" cy="5691834"/>
              <a:chOff x="3296652" y="3541295"/>
              <a:chExt cx="4876800" cy="4876800"/>
            </a:xfrm>
          </p:grpSpPr>
          <p:sp>
            <p:nvSpPr>
              <p:cNvPr id="11" name="フローチャート: 結合子 10">
                <a:extLst>
                  <a:ext uri="{FF2B5EF4-FFF2-40B4-BE49-F238E27FC236}">
                    <a16:creationId xmlns:a16="http://schemas.microsoft.com/office/drawing/2014/main" id="{694E67A5-61FB-65E1-5A3E-826831F6DBD3}"/>
                  </a:ext>
                </a:extLst>
              </p:cNvPr>
              <p:cNvSpPr/>
              <p:nvPr/>
            </p:nvSpPr>
            <p:spPr>
              <a:xfrm>
                <a:off x="5073315" y="4102768"/>
                <a:ext cx="1323474" cy="1323474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pic>
            <p:nvPicPr>
              <p:cNvPr id="10" name="図 9" descr="アイコン&#10;&#10;自動的に生成された説明">
                <a:extLst>
                  <a:ext uri="{FF2B5EF4-FFF2-40B4-BE49-F238E27FC236}">
                    <a16:creationId xmlns:a16="http://schemas.microsoft.com/office/drawing/2014/main" id="{5233C085-B494-C3CF-3CF5-7877828081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96652" y="3541295"/>
                <a:ext cx="4876800" cy="4876800"/>
              </a:xfrm>
              <a:prstGeom prst="rect">
                <a:avLst/>
              </a:prstGeom>
            </p:spPr>
          </p:pic>
        </p:grpSp>
        <p:grpSp>
          <p:nvGrpSpPr>
            <p:cNvPr id="13" name="グループ化 12">
              <a:extLst>
                <a:ext uri="{FF2B5EF4-FFF2-40B4-BE49-F238E27FC236}">
                  <a16:creationId xmlns:a16="http://schemas.microsoft.com/office/drawing/2014/main" id="{5794A8FF-A429-F015-CFC2-3FB65102F72D}"/>
                </a:ext>
              </a:extLst>
            </p:cNvPr>
            <p:cNvGrpSpPr/>
            <p:nvPr/>
          </p:nvGrpSpPr>
          <p:grpSpPr>
            <a:xfrm>
              <a:off x="207649" y="2378241"/>
              <a:ext cx="3617495" cy="3617495"/>
              <a:chOff x="3296652" y="3541295"/>
              <a:chExt cx="4876800" cy="4876800"/>
            </a:xfrm>
          </p:grpSpPr>
          <p:sp>
            <p:nvSpPr>
              <p:cNvPr id="14" name="フローチャート: 結合子 13">
                <a:extLst>
                  <a:ext uri="{FF2B5EF4-FFF2-40B4-BE49-F238E27FC236}">
                    <a16:creationId xmlns:a16="http://schemas.microsoft.com/office/drawing/2014/main" id="{E5F59142-8137-F015-5E35-AC50A7456ADD}"/>
                  </a:ext>
                </a:extLst>
              </p:cNvPr>
              <p:cNvSpPr/>
              <p:nvPr/>
            </p:nvSpPr>
            <p:spPr>
              <a:xfrm>
                <a:off x="5073315" y="4102768"/>
                <a:ext cx="1323474" cy="1323474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pic>
            <p:nvPicPr>
              <p:cNvPr id="15" name="図 14" descr="アイコン&#10;&#10;自動的に生成された説明">
                <a:extLst>
                  <a:ext uri="{FF2B5EF4-FFF2-40B4-BE49-F238E27FC236}">
                    <a16:creationId xmlns:a16="http://schemas.microsoft.com/office/drawing/2014/main" id="{E2ABFCE0-0827-3E84-68EF-038D1934A9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96652" y="3541295"/>
                <a:ext cx="4876800" cy="4876800"/>
              </a:xfrm>
              <a:prstGeom prst="rect">
                <a:avLst/>
              </a:prstGeom>
            </p:spPr>
          </p:pic>
        </p:grpSp>
        <p:grpSp>
          <p:nvGrpSpPr>
            <p:cNvPr id="19" name="グループ化 18">
              <a:extLst>
                <a:ext uri="{FF2B5EF4-FFF2-40B4-BE49-F238E27FC236}">
                  <a16:creationId xmlns:a16="http://schemas.microsoft.com/office/drawing/2014/main" id="{D1652B8F-29C8-203D-069E-3A3FF486B29A}"/>
                </a:ext>
              </a:extLst>
            </p:cNvPr>
            <p:cNvGrpSpPr/>
            <p:nvPr/>
          </p:nvGrpSpPr>
          <p:grpSpPr>
            <a:xfrm>
              <a:off x="1626809" y="2657515"/>
              <a:ext cx="3947822" cy="3947822"/>
              <a:chOff x="7082589" y="3577999"/>
              <a:chExt cx="2438400" cy="2438400"/>
            </a:xfrm>
          </p:grpSpPr>
          <p:sp>
            <p:nvSpPr>
              <p:cNvPr id="18" name="フローチャート: 結合子 17">
                <a:extLst>
                  <a:ext uri="{FF2B5EF4-FFF2-40B4-BE49-F238E27FC236}">
                    <a16:creationId xmlns:a16="http://schemas.microsoft.com/office/drawing/2014/main" id="{00B31DE6-7F0B-81E7-2E84-DC2C17223C99}"/>
                  </a:ext>
                </a:extLst>
              </p:cNvPr>
              <p:cNvSpPr/>
              <p:nvPr/>
            </p:nvSpPr>
            <p:spPr>
              <a:xfrm>
                <a:off x="7323221" y="3818631"/>
                <a:ext cx="1957136" cy="1957136"/>
              </a:xfrm>
              <a:prstGeom prst="flowChartConnector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pic>
            <p:nvPicPr>
              <p:cNvPr id="17" name="図 16" descr="アイコン&#10;&#10;自動的に生成された説明">
                <a:extLst>
                  <a:ext uri="{FF2B5EF4-FFF2-40B4-BE49-F238E27FC236}">
                    <a16:creationId xmlns:a16="http://schemas.microsoft.com/office/drawing/2014/main" id="{58B996A5-503D-6765-C2A4-8450F17540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82589" y="3577999"/>
                <a:ext cx="2438400" cy="2438400"/>
              </a:xfrm>
              <a:prstGeom prst="rect">
                <a:avLst/>
              </a:prstGeom>
            </p:spPr>
          </p:pic>
        </p:grpSp>
        <p:pic>
          <p:nvPicPr>
            <p:cNvPr id="21" name="図 20" descr="アイコン&#10;&#10;自動的に生成された説明">
              <a:extLst>
                <a:ext uri="{FF2B5EF4-FFF2-40B4-BE49-F238E27FC236}">
                  <a16:creationId xmlns:a16="http://schemas.microsoft.com/office/drawing/2014/main" id="{6AD1086F-2EDE-CC5D-22FE-90B4F0C022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1098" y="1905314"/>
              <a:ext cx="2815896" cy="2815896"/>
            </a:xfrm>
            <a:prstGeom prst="rect">
              <a:avLst/>
            </a:prstGeom>
          </p:spPr>
        </p:pic>
      </p:grp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FCECC93E-E445-2E2A-4D12-85BAF303FD7C}"/>
              </a:ext>
            </a:extLst>
          </p:cNvPr>
          <p:cNvSpPr txBox="1"/>
          <p:nvPr/>
        </p:nvSpPr>
        <p:spPr>
          <a:xfrm>
            <a:off x="5086034" y="254901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4800" b="1" dirty="0"/>
              <a:t>卒業研究の　</a:t>
            </a:r>
            <a:r>
              <a:rPr lang="ja-JP" altLang="en-US" sz="5400" b="1" dirty="0">
                <a:solidFill>
                  <a:srgbClr val="156082"/>
                </a:solidFill>
              </a:rPr>
              <a:t>目的</a:t>
            </a:r>
            <a:endParaRPr lang="ja-JP" altLang="en-US" sz="4800" b="1" dirty="0"/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F1544E3D-2531-1284-0FFA-7F337B533D65}"/>
              </a:ext>
            </a:extLst>
          </p:cNvPr>
          <p:cNvSpPr txBox="1"/>
          <p:nvPr/>
        </p:nvSpPr>
        <p:spPr>
          <a:xfrm>
            <a:off x="6243526" y="2451984"/>
            <a:ext cx="51090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3200" dirty="0"/>
              <a:t>旅行を</a:t>
            </a:r>
            <a:r>
              <a:rPr kumimoji="1" lang="ja-JP" altLang="en-US" sz="3200" b="1" dirty="0">
                <a:solidFill>
                  <a:srgbClr val="E97132"/>
                </a:solidFill>
              </a:rPr>
              <a:t>身近</a:t>
            </a:r>
            <a:r>
              <a:rPr kumimoji="1" lang="ja-JP" altLang="en-US" sz="3200" dirty="0"/>
              <a:t>で</a:t>
            </a:r>
            <a:r>
              <a:rPr kumimoji="1" lang="ja-JP" altLang="en-US" sz="3200" b="1" dirty="0">
                <a:solidFill>
                  <a:srgbClr val="E97132"/>
                </a:solidFill>
              </a:rPr>
              <a:t>手軽</a:t>
            </a:r>
            <a:r>
              <a:rPr kumimoji="1" lang="ja-JP" altLang="en-US" sz="3200" dirty="0"/>
              <a:t>なものに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39F2B54-0687-685D-99B5-8C4AAF87AB10}"/>
              </a:ext>
            </a:extLst>
          </p:cNvPr>
          <p:cNvSpPr txBox="1">
            <a:spLocks/>
          </p:cNvSpPr>
          <p:nvPr/>
        </p:nvSpPr>
        <p:spPr>
          <a:xfrm>
            <a:off x="7779538" y="1068332"/>
            <a:ext cx="10820400" cy="246221"/>
          </a:xfrm>
          <a:prstGeom prst="rect">
            <a:avLst/>
          </a:prstGeom>
        </p:spPr>
        <p:txBody>
          <a:bodyPr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dirty="0"/>
              <a:t>目的地までのプラン最適化問題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082254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" name="Title 1">
            <a:extLst>
              <a:ext uri="{FF2B5EF4-FFF2-40B4-BE49-F238E27FC236}">
                <a16:creationId xmlns:a16="http://schemas.microsoft.com/office/drawing/2014/main" id="{0807BB20-28F3-4851-947F-E1DE74024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810" y="-90087"/>
            <a:ext cx="10515600" cy="1325563"/>
          </a:xfrm>
        </p:spPr>
        <p:txBody>
          <a:bodyPr/>
          <a:lstStyle/>
          <a:p>
            <a:r>
              <a:rPr lang="ja-JP" altLang="en-US" dirty="0"/>
              <a:t>システムの　</a:t>
            </a:r>
            <a:r>
              <a:rPr lang="ja-JP" altLang="en-US" sz="3600" dirty="0">
                <a:solidFill>
                  <a:srgbClr val="156082"/>
                </a:solidFill>
              </a:rPr>
              <a:t>使用例</a:t>
            </a:r>
            <a:endParaRPr lang="en-IN" dirty="0">
              <a:solidFill>
                <a:srgbClr val="156082"/>
              </a:solidFill>
            </a:endParaRPr>
          </a:p>
        </p:txBody>
      </p:sp>
      <p:sp>
        <p:nvSpPr>
          <p:cNvPr id="523" name="Text Placeholder 2">
            <a:extLst>
              <a:ext uri="{FF2B5EF4-FFF2-40B4-BE49-F238E27FC236}">
                <a16:creationId xmlns:a16="http://schemas.microsoft.com/office/drawing/2014/main" id="{82BC769A-CB95-44A3-8A9C-6D34296053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24896"/>
            <a:ext cx="10820400" cy="246221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ja-JP" altLang="en-US" dirty="0"/>
              <a:t>目的地までのプラン最適化問題</a:t>
            </a:r>
            <a:endParaRPr lang="en-IN" dirty="0"/>
          </a:p>
        </p:txBody>
      </p:sp>
      <p:grpSp>
        <p:nvGrpSpPr>
          <p:cNvPr id="524" name="Group 523">
            <a:extLst>
              <a:ext uri="{FF2B5EF4-FFF2-40B4-BE49-F238E27FC236}">
                <a16:creationId xmlns:a16="http://schemas.microsoft.com/office/drawing/2014/main" id="{26F185CC-70E3-4834-8A3A-31E3C080C710}"/>
              </a:ext>
            </a:extLst>
          </p:cNvPr>
          <p:cNvGrpSpPr/>
          <p:nvPr/>
        </p:nvGrpSpPr>
        <p:grpSpPr>
          <a:xfrm>
            <a:off x="5156723" y="1335313"/>
            <a:ext cx="6071714" cy="4863619"/>
            <a:chOff x="6120960" y="1333500"/>
            <a:chExt cx="5270940" cy="3976553"/>
          </a:xfrm>
        </p:grpSpPr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964EBEAF-D2AB-4312-B506-855C1B554AA1}"/>
                </a:ext>
              </a:extLst>
            </p:cNvPr>
            <p:cNvGrpSpPr/>
            <p:nvPr/>
          </p:nvGrpSpPr>
          <p:grpSpPr>
            <a:xfrm>
              <a:off x="6132357" y="1333500"/>
              <a:ext cx="5250340" cy="3972061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545D7EE6-B447-49F7-9DFF-1F03F612BA2C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D3F6ECF3-18BE-40A0-B6CC-2E89DCD1C5C1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id="{C186B60B-C496-4C3A-B3F0-1A78444E3B8F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77E786F1-DF2B-4EEE-A9D3-84597398E2F0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B3FC957E-AA5B-4AA5-B59C-25AD4C01E39C}"/>
                </a:ext>
              </a:extLst>
            </p:cNvPr>
            <p:cNvSpPr/>
            <p:nvPr/>
          </p:nvSpPr>
          <p:spPr>
            <a:xfrm>
              <a:off x="6120960" y="2395787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73AF51">
                <a:alpha val="77647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688AF5A-C0F0-4F00-A6F2-C1483A884702}"/>
              </a:ext>
            </a:extLst>
          </p:cNvPr>
          <p:cNvGrpSpPr/>
          <p:nvPr/>
        </p:nvGrpSpPr>
        <p:grpSpPr>
          <a:xfrm>
            <a:off x="4169740" y="2881447"/>
            <a:ext cx="5270940" cy="3976553"/>
            <a:chOff x="5193218" y="2184277"/>
            <a:chExt cx="5270940" cy="3976553"/>
          </a:xfrm>
        </p:grpSpPr>
        <p:grpSp>
          <p:nvGrpSpPr>
            <p:cNvPr id="532" name="Group 531">
              <a:extLst>
                <a:ext uri="{FF2B5EF4-FFF2-40B4-BE49-F238E27FC236}">
                  <a16:creationId xmlns:a16="http://schemas.microsoft.com/office/drawing/2014/main" id="{7EA3EB79-CB31-46F6-9CCE-B5D8ADECDBDE}"/>
                </a:ext>
              </a:extLst>
            </p:cNvPr>
            <p:cNvGrpSpPr/>
            <p:nvPr/>
          </p:nvGrpSpPr>
          <p:grpSpPr>
            <a:xfrm>
              <a:off x="5204615" y="2184277"/>
              <a:ext cx="5250340" cy="3972062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34" name="Freeform: Shape 533">
                <a:extLst>
                  <a:ext uri="{FF2B5EF4-FFF2-40B4-BE49-F238E27FC236}">
                    <a16:creationId xmlns:a16="http://schemas.microsoft.com/office/drawing/2014/main" id="{E0266CA8-1D63-4F85-ACA8-95531A36B99C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5" name="Freeform: Shape 534">
                <a:extLst>
                  <a:ext uri="{FF2B5EF4-FFF2-40B4-BE49-F238E27FC236}">
                    <a16:creationId xmlns:a16="http://schemas.microsoft.com/office/drawing/2014/main" id="{45093B62-7F1C-4365-A63B-BFD018B53733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6" name="Freeform: Shape 535">
                <a:extLst>
                  <a:ext uri="{FF2B5EF4-FFF2-40B4-BE49-F238E27FC236}">
                    <a16:creationId xmlns:a16="http://schemas.microsoft.com/office/drawing/2014/main" id="{869FB1C4-0266-4C62-A8D5-17CAB1391A92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7" name="Freeform: Shape 536">
                <a:extLst>
                  <a:ext uri="{FF2B5EF4-FFF2-40B4-BE49-F238E27FC236}">
                    <a16:creationId xmlns:a16="http://schemas.microsoft.com/office/drawing/2014/main" id="{67CA104B-41B0-45ED-A5D6-4A8A110A18CA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D69199D3-FE4F-4A87-99F3-6D0D5BC515E8}"/>
                </a:ext>
              </a:extLst>
            </p:cNvPr>
            <p:cNvSpPr/>
            <p:nvPr/>
          </p:nvSpPr>
          <p:spPr>
            <a:xfrm>
              <a:off x="5193218" y="3246564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5E9042">
                <a:alpha val="77647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38" name="Group 537">
            <a:extLst>
              <a:ext uri="{FF2B5EF4-FFF2-40B4-BE49-F238E27FC236}">
                <a16:creationId xmlns:a16="http://schemas.microsoft.com/office/drawing/2014/main" id="{055F2BDE-8594-46F2-B963-85C9FD683A7C}"/>
              </a:ext>
            </a:extLst>
          </p:cNvPr>
          <p:cNvGrpSpPr/>
          <p:nvPr/>
        </p:nvGrpSpPr>
        <p:grpSpPr>
          <a:xfrm>
            <a:off x="3669992" y="3622074"/>
            <a:ext cx="4289236" cy="3235926"/>
            <a:chOff x="5193218" y="2184277"/>
            <a:chExt cx="5270940" cy="3976553"/>
          </a:xfrm>
        </p:grpSpPr>
        <p:grpSp>
          <p:nvGrpSpPr>
            <p:cNvPr id="539" name="Group 538">
              <a:extLst>
                <a:ext uri="{FF2B5EF4-FFF2-40B4-BE49-F238E27FC236}">
                  <a16:creationId xmlns:a16="http://schemas.microsoft.com/office/drawing/2014/main" id="{2072E37B-53F2-4A34-8BA7-39B254E7BC9B}"/>
                </a:ext>
              </a:extLst>
            </p:cNvPr>
            <p:cNvGrpSpPr/>
            <p:nvPr/>
          </p:nvGrpSpPr>
          <p:grpSpPr>
            <a:xfrm>
              <a:off x="5204615" y="2184277"/>
              <a:ext cx="5250340" cy="3972062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41" name="Freeform: Shape 540">
                <a:extLst>
                  <a:ext uri="{FF2B5EF4-FFF2-40B4-BE49-F238E27FC236}">
                    <a16:creationId xmlns:a16="http://schemas.microsoft.com/office/drawing/2014/main" id="{C265C260-9FF9-447D-AED0-9C165C0F4EC6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2" name="Freeform: Shape 541">
                <a:extLst>
                  <a:ext uri="{FF2B5EF4-FFF2-40B4-BE49-F238E27FC236}">
                    <a16:creationId xmlns:a16="http://schemas.microsoft.com/office/drawing/2014/main" id="{37D12856-0B90-4FA7-B810-4337A269A55F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3" name="Freeform: Shape 542">
                <a:extLst>
                  <a:ext uri="{FF2B5EF4-FFF2-40B4-BE49-F238E27FC236}">
                    <a16:creationId xmlns:a16="http://schemas.microsoft.com/office/drawing/2014/main" id="{D6DD3657-A404-440E-9FCB-F335B95CED3E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4" name="Freeform: Shape 543">
                <a:extLst>
                  <a:ext uri="{FF2B5EF4-FFF2-40B4-BE49-F238E27FC236}">
                    <a16:creationId xmlns:a16="http://schemas.microsoft.com/office/drawing/2014/main" id="{C47DD0A8-E120-4AC1-81A1-63891582593B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97313148-89BA-4D66-B844-908BC0A78592}"/>
                </a:ext>
              </a:extLst>
            </p:cNvPr>
            <p:cNvSpPr/>
            <p:nvPr/>
          </p:nvSpPr>
          <p:spPr>
            <a:xfrm>
              <a:off x="5193218" y="3246564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5E9042">
                <a:alpha val="78000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240B02B-5B9B-4423-B6A6-AD370F2605E8}"/>
              </a:ext>
            </a:extLst>
          </p:cNvPr>
          <p:cNvCxnSpPr>
            <a:stCxn id="261" idx="18"/>
          </p:cNvCxnSpPr>
          <p:nvPr/>
        </p:nvCxnSpPr>
        <p:spPr>
          <a:xfrm flipH="1" flipV="1">
            <a:off x="8391161" y="4486512"/>
            <a:ext cx="2475003" cy="1606493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B3DB520-3ED2-4C70-AA82-61C0DCEDAA31}"/>
              </a:ext>
            </a:extLst>
          </p:cNvPr>
          <p:cNvCxnSpPr>
            <a:cxnSpLocks/>
          </p:cNvCxnSpPr>
          <p:nvPr/>
        </p:nvCxnSpPr>
        <p:spPr>
          <a:xfrm flipH="1">
            <a:off x="5935314" y="4506638"/>
            <a:ext cx="1262663" cy="681631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41B0FA2-8640-46C2-8EEF-08A3AD2BC75B}"/>
              </a:ext>
            </a:extLst>
          </p:cNvPr>
          <p:cNvCxnSpPr>
            <a:cxnSpLocks/>
            <a:stCxn id="521" idx="3"/>
          </p:cNvCxnSpPr>
          <p:nvPr/>
        </p:nvCxnSpPr>
        <p:spPr>
          <a:xfrm>
            <a:off x="8116393" y="1415707"/>
            <a:ext cx="1087503" cy="2206367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20EE7300-1920-4D9C-A57E-45AB462C9AD0}"/>
              </a:ext>
            </a:extLst>
          </p:cNvPr>
          <p:cNvSpPr/>
          <p:nvPr/>
        </p:nvSpPr>
        <p:spPr>
          <a:xfrm>
            <a:off x="9010526" y="3433037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F23C1D0-441F-4DB2-ACF2-E2DD29D0057B}"/>
              </a:ext>
            </a:extLst>
          </p:cNvPr>
          <p:cNvSpPr/>
          <p:nvPr/>
        </p:nvSpPr>
        <p:spPr>
          <a:xfrm>
            <a:off x="8248963" y="4331573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2" name="Oval 58">
            <a:extLst>
              <a:ext uri="{FF2B5EF4-FFF2-40B4-BE49-F238E27FC236}">
                <a16:creationId xmlns:a16="http://schemas.microsoft.com/office/drawing/2014/main" id="{A0411A15-F4CF-FABB-058E-36F4216B068C}"/>
              </a:ext>
            </a:extLst>
          </p:cNvPr>
          <p:cNvSpPr/>
          <p:nvPr/>
        </p:nvSpPr>
        <p:spPr>
          <a:xfrm>
            <a:off x="7163184" y="4336757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6" name="Oval 58">
            <a:extLst>
              <a:ext uri="{FF2B5EF4-FFF2-40B4-BE49-F238E27FC236}">
                <a16:creationId xmlns:a16="http://schemas.microsoft.com/office/drawing/2014/main" id="{7930B0DA-8F44-D19A-E1C1-8F0D252BC7C7}"/>
              </a:ext>
            </a:extLst>
          </p:cNvPr>
          <p:cNvSpPr/>
          <p:nvPr/>
        </p:nvSpPr>
        <p:spPr>
          <a:xfrm>
            <a:off x="7556948" y="3279555"/>
            <a:ext cx="298889" cy="298889"/>
          </a:xfrm>
          <a:prstGeom prst="ellipse">
            <a:avLst/>
          </a:prstGeom>
          <a:solidFill>
            <a:srgbClr val="ED7D3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7" name="Oval 58">
            <a:extLst>
              <a:ext uri="{FF2B5EF4-FFF2-40B4-BE49-F238E27FC236}">
                <a16:creationId xmlns:a16="http://schemas.microsoft.com/office/drawing/2014/main" id="{F0AB69BC-760C-1F2C-B7EC-322EDF393F0B}"/>
              </a:ext>
            </a:extLst>
          </p:cNvPr>
          <p:cNvSpPr/>
          <p:nvPr/>
        </p:nvSpPr>
        <p:spPr>
          <a:xfrm>
            <a:off x="5710311" y="4203879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8" name="Oval 58">
            <a:extLst>
              <a:ext uri="{FF2B5EF4-FFF2-40B4-BE49-F238E27FC236}">
                <a16:creationId xmlns:a16="http://schemas.microsoft.com/office/drawing/2014/main" id="{63954E68-8685-80FC-BC0C-9CDBD058B160}"/>
              </a:ext>
            </a:extLst>
          </p:cNvPr>
          <p:cNvSpPr/>
          <p:nvPr/>
        </p:nvSpPr>
        <p:spPr>
          <a:xfrm>
            <a:off x="6585604" y="3775801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cxnSp>
        <p:nvCxnSpPr>
          <p:cNvPr id="19" name="Straight Connector 50">
            <a:extLst>
              <a:ext uri="{FF2B5EF4-FFF2-40B4-BE49-F238E27FC236}">
                <a16:creationId xmlns:a16="http://schemas.microsoft.com/office/drawing/2014/main" id="{ECC7D80F-8E5A-FD10-B335-D86D4C278028}"/>
              </a:ext>
            </a:extLst>
          </p:cNvPr>
          <p:cNvCxnSpPr>
            <a:cxnSpLocks/>
          </p:cNvCxnSpPr>
          <p:nvPr/>
        </p:nvCxnSpPr>
        <p:spPr>
          <a:xfrm flipH="1">
            <a:off x="5949610" y="3924684"/>
            <a:ext cx="787952" cy="1147954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B246B40E-F8BF-B34E-C957-440D63EF24BF}"/>
              </a:ext>
            </a:extLst>
          </p:cNvPr>
          <p:cNvCxnSpPr>
            <a:cxnSpLocks/>
            <a:stCxn id="59" idx="2"/>
            <a:endCxn id="2" idx="6"/>
          </p:cNvCxnSpPr>
          <p:nvPr/>
        </p:nvCxnSpPr>
        <p:spPr>
          <a:xfrm flipH="1">
            <a:off x="7462073" y="4481018"/>
            <a:ext cx="786890" cy="5184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58">
            <a:extLst>
              <a:ext uri="{FF2B5EF4-FFF2-40B4-BE49-F238E27FC236}">
                <a16:creationId xmlns:a16="http://schemas.microsoft.com/office/drawing/2014/main" id="{FFDFE4A2-E243-65B7-6637-927D214FB9DE}"/>
              </a:ext>
            </a:extLst>
          </p:cNvPr>
          <p:cNvSpPr/>
          <p:nvPr/>
        </p:nvSpPr>
        <p:spPr>
          <a:xfrm>
            <a:off x="5772947" y="5029120"/>
            <a:ext cx="298889" cy="298889"/>
          </a:xfrm>
          <a:prstGeom prst="ellipse">
            <a:avLst/>
          </a:prstGeom>
          <a:solidFill>
            <a:srgbClr val="ED7D3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cxnSp>
        <p:nvCxnSpPr>
          <p:cNvPr id="22" name="Straight Connector 50">
            <a:extLst>
              <a:ext uri="{FF2B5EF4-FFF2-40B4-BE49-F238E27FC236}">
                <a16:creationId xmlns:a16="http://schemas.microsoft.com/office/drawing/2014/main" id="{E763C8A5-B445-F9FE-D9D7-99C0AC40504F}"/>
              </a:ext>
            </a:extLst>
          </p:cNvPr>
          <p:cNvCxnSpPr>
            <a:cxnSpLocks/>
            <a:endCxn id="8" idx="6"/>
          </p:cNvCxnSpPr>
          <p:nvPr/>
        </p:nvCxnSpPr>
        <p:spPr>
          <a:xfrm flipH="1">
            <a:off x="6884493" y="3599687"/>
            <a:ext cx="2141820" cy="325559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10">
            <a:extLst>
              <a:ext uri="{FF2B5EF4-FFF2-40B4-BE49-F238E27FC236}">
                <a16:creationId xmlns:a16="http://schemas.microsoft.com/office/drawing/2014/main" id="{F3B460BB-4EB8-40B7-5AF1-CD2B345A15D3}"/>
              </a:ext>
            </a:extLst>
          </p:cNvPr>
          <p:cNvSpPr/>
          <p:nvPr/>
        </p:nvSpPr>
        <p:spPr>
          <a:xfrm>
            <a:off x="8063592" y="1340906"/>
            <a:ext cx="298889" cy="298889"/>
          </a:xfrm>
          <a:prstGeom prst="ellipse">
            <a:avLst/>
          </a:prstGeom>
          <a:solidFill>
            <a:srgbClr val="2C8A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grpSp>
        <p:nvGrpSpPr>
          <p:cNvPr id="519" name="Group 518">
            <a:extLst>
              <a:ext uri="{FF2B5EF4-FFF2-40B4-BE49-F238E27FC236}">
                <a16:creationId xmlns:a16="http://schemas.microsoft.com/office/drawing/2014/main" id="{C4EDC8C0-D0E9-4775-97EB-497B071F9319}"/>
              </a:ext>
            </a:extLst>
          </p:cNvPr>
          <p:cNvGrpSpPr/>
          <p:nvPr/>
        </p:nvGrpSpPr>
        <p:grpSpPr>
          <a:xfrm>
            <a:off x="8092785" y="550488"/>
            <a:ext cx="411883" cy="990865"/>
            <a:chOff x="9053309" y="399730"/>
            <a:chExt cx="411883" cy="990865"/>
          </a:xfrm>
        </p:grpSpPr>
        <p:sp>
          <p:nvSpPr>
            <p:cNvPr id="520" name="Freeform 9">
              <a:extLst>
                <a:ext uri="{FF2B5EF4-FFF2-40B4-BE49-F238E27FC236}">
                  <a16:creationId xmlns:a16="http://schemas.microsoft.com/office/drawing/2014/main" id="{5B6F9A9E-3630-4AAB-91CD-99C522A2E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2942" y="399730"/>
              <a:ext cx="392250" cy="364890"/>
            </a:xfrm>
            <a:custGeom>
              <a:avLst/>
              <a:gdLst>
                <a:gd name="T0" fmla="*/ 47 w 1913"/>
                <a:gd name="T1" fmla="*/ 1746 h 1762"/>
                <a:gd name="T2" fmla="*/ 0 w 1913"/>
                <a:gd name="T3" fmla="*/ 1717 h 1762"/>
                <a:gd name="T4" fmla="*/ 757 w 1913"/>
                <a:gd name="T5" fmla="*/ 8 h 1762"/>
                <a:gd name="T6" fmla="*/ 859 w 1913"/>
                <a:gd name="T7" fmla="*/ 52 h 1762"/>
                <a:gd name="T8" fmla="*/ 844 w 1913"/>
                <a:gd name="T9" fmla="*/ 106 h 1762"/>
                <a:gd name="T10" fmla="*/ 828 w 1913"/>
                <a:gd name="T11" fmla="*/ 151 h 1762"/>
                <a:gd name="T12" fmla="*/ 901 w 1913"/>
                <a:gd name="T13" fmla="*/ 142 h 1762"/>
                <a:gd name="T14" fmla="*/ 1072 w 1913"/>
                <a:gd name="T15" fmla="*/ 154 h 1762"/>
                <a:gd name="T16" fmla="*/ 1482 w 1913"/>
                <a:gd name="T17" fmla="*/ 412 h 1762"/>
                <a:gd name="T18" fmla="*/ 1513 w 1913"/>
                <a:gd name="T19" fmla="*/ 465 h 1762"/>
                <a:gd name="T20" fmla="*/ 1475 w 1913"/>
                <a:gd name="T21" fmla="*/ 550 h 1762"/>
                <a:gd name="T22" fmla="*/ 1458 w 1913"/>
                <a:gd name="T23" fmla="*/ 659 h 1762"/>
                <a:gd name="T24" fmla="*/ 1864 w 1913"/>
                <a:gd name="T25" fmla="*/ 804 h 1762"/>
                <a:gd name="T26" fmla="*/ 1913 w 1913"/>
                <a:gd name="T27" fmla="*/ 805 h 1762"/>
                <a:gd name="T28" fmla="*/ 1548 w 1913"/>
                <a:gd name="T29" fmla="*/ 1596 h 1762"/>
                <a:gd name="T30" fmla="*/ 1079 w 1913"/>
                <a:gd name="T31" fmla="*/ 1479 h 1762"/>
                <a:gd name="T32" fmla="*/ 1008 w 1913"/>
                <a:gd name="T33" fmla="*/ 1382 h 1762"/>
                <a:gd name="T34" fmla="*/ 1029 w 1913"/>
                <a:gd name="T35" fmla="*/ 1253 h 1762"/>
                <a:gd name="T36" fmla="*/ 1067 w 1913"/>
                <a:gd name="T37" fmla="*/ 1166 h 1762"/>
                <a:gd name="T38" fmla="*/ 1037 w 1913"/>
                <a:gd name="T39" fmla="*/ 1143 h 1762"/>
                <a:gd name="T40" fmla="*/ 675 w 1913"/>
                <a:gd name="T41" fmla="*/ 975 h 1762"/>
                <a:gd name="T42" fmla="*/ 465 w 1913"/>
                <a:gd name="T43" fmla="*/ 972 h 1762"/>
                <a:gd name="T44" fmla="*/ 281 w 1913"/>
                <a:gd name="T45" fmla="*/ 1369 h 1762"/>
                <a:gd name="T46" fmla="*/ 102 w 1913"/>
                <a:gd name="T47" fmla="*/ 1757 h 1762"/>
                <a:gd name="T48" fmla="*/ 47 w 1913"/>
                <a:gd name="T49" fmla="*/ 1746 h 1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13" h="1762">
                  <a:moveTo>
                    <a:pt x="47" y="1746"/>
                  </a:moveTo>
                  <a:cubicBezTo>
                    <a:pt x="21" y="1736"/>
                    <a:pt x="0" y="1723"/>
                    <a:pt x="0" y="1717"/>
                  </a:cubicBezTo>
                  <a:cubicBezTo>
                    <a:pt x="0" y="1707"/>
                    <a:pt x="748" y="18"/>
                    <a:pt x="757" y="8"/>
                  </a:cubicBezTo>
                  <a:cubicBezTo>
                    <a:pt x="764" y="0"/>
                    <a:pt x="853" y="38"/>
                    <a:pt x="859" y="52"/>
                  </a:cubicBezTo>
                  <a:cubicBezTo>
                    <a:pt x="862" y="60"/>
                    <a:pt x="855" y="84"/>
                    <a:pt x="844" y="106"/>
                  </a:cubicBezTo>
                  <a:cubicBezTo>
                    <a:pt x="832" y="128"/>
                    <a:pt x="825" y="148"/>
                    <a:pt x="828" y="151"/>
                  </a:cubicBezTo>
                  <a:cubicBezTo>
                    <a:pt x="831" y="154"/>
                    <a:pt x="864" y="150"/>
                    <a:pt x="901" y="142"/>
                  </a:cubicBezTo>
                  <a:cubicBezTo>
                    <a:pt x="959" y="130"/>
                    <a:pt x="983" y="131"/>
                    <a:pt x="1072" y="154"/>
                  </a:cubicBezTo>
                  <a:cubicBezTo>
                    <a:pt x="1264" y="203"/>
                    <a:pt x="1414" y="297"/>
                    <a:pt x="1482" y="412"/>
                  </a:cubicBezTo>
                  <a:lnTo>
                    <a:pt x="1513" y="465"/>
                  </a:lnTo>
                  <a:lnTo>
                    <a:pt x="1475" y="550"/>
                  </a:lnTo>
                  <a:cubicBezTo>
                    <a:pt x="1439" y="631"/>
                    <a:pt x="1438" y="636"/>
                    <a:pt x="1458" y="659"/>
                  </a:cubicBezTo>
                  <a:cubicBezTo>
                    <a:pt x="1516" y="722"/>
                    <a:pt x="1769" y="813"/>
                    <a:pt x="1864" y="804"/>
                  </a:cubicBezTo>
                  <a:cubicBezTo>
                    <a:pt x="1891" y="801"/>
                    <a:pt x="1913" y="802"/>
                    <a:pt x="1913" y="805"/>
                  </a:cubicBezTo>
                  <a:cubicBezTo>
                    <a:pt x="1913" y="829"/>
                    <a:pt x="1567" y="1580"/>
                    <a:pt x="1548" y="1596"/>
                  </a:cubicBezTo>
                  <a:cubicBezTo>
                    <a:pt x="1460" y="1672"/>
                    <a:pt x="1204" y="1608"/>
                    <a:pt x="1079" y="1479"/>
                  </a:cubicBezTo>
                  <a:cubicBezTo>
                    <a:pt x="1050" y="1449"/>
                    <a:pt x="1018" y="1406"/>
                    <a:pt x="1008" y="1382"/>
                  </a:cubicBezTo>
                  <a:cubicBezTo>
                    <a:pt x="992" y="1342"/>
                    <a:pt x="993" y="1335"/>
                    <a:pt x="1029" y="1253"/>
                  </a:cubicBezTo>
                  <a:lnTo>
                    <a:pt x="1067" y="1166"/>
                  </a:lnTo>
                  <a:lnTo>
                    <a:pt x="1037" y="1143"/>
                  </a:lnTo>
                  <a:cubicBezTo>
                    <a:pt x="978" y="1097"/>
                    <a:pt x="755" y="994"/>
                    <a:pt x="675" y="975"/>
                  </a:cubicBezTo>
                  <a:cubicBezTo>
                    <a:pt x="575" y="952"/>
                    <a:pt x="483" y="951"/>
                    <a:pt x="465" y="972"/>
                  </a:cubicBezTo>
                  <a:cubicBezTo>
                    <a:pt x="458" y="981"/>
                    <a:pt x="375" y="1160"/>
                    <a:pt x="281" y="1369"/>
                  </a:cubicBezTo>
                  <a:cubicBezTo>
                    <a:pt x="188" y="1579"/>
                    <a:pt x="107" y="1753"/>
                    <a:pt x="102" y="1757"/>
                  </a:cubicBezTo>
                  <a:cubicBezTo>
                    <a:pt x="98" y="1762"/>
                    <a:pt x="73" y="1757"/>
                    <a:pt x="47" y="17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21" name="Freeform 13">
              <a:extLst>
                <a:ext uri="{FF2B5EF4-FFF2-40B4-BE49-F238E27FC236}">
                  <a16:creationId xmlns:a16="http://schemas.microsoft.com/office/drawing/2014/main" id="{396DDA30-B49F-4DEE-B4CF-B80C94AC1D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53309" y="694347"/>
              <a:ext cx="300998" cy="696248"/>
            </a:xfrm>
            <a:custGeom>
              <a:avLst/>
              <a:gdLst>
                <a:gd name="T0" fmla="*/ 386 w 3366"/>
                <a:gd name="T1" fmla="*/ 7638 h 7708"/>
                <a:gd name="T2" fmla="*/ 277 w 3366"/>
                <a:gd name="T3" fmla="*/ 7581 h 7708"/>
                <a:gd name="T4" fmla="*/ 162 w 3366"/>
                <a:gd name="T5" fmla="*/ 7370 h 7708"/>
                <a:gd name="T6" fmla="*/ 264 w 3366"/>
                <a:gd name="T7" fmla="*/ 6317 h 7708"/>
                <a:gd name="T8" fmla="*/ 585 w 3366"/>
                <a:gd name="T9" fmla="*/ 4817 h 7708"/>
                <a:gd name="T10" fmla="*/ 807 w 3366"/>
                <a:gd name="T11" fmla="*/ 4210 h 7708"/>
                <a:gd name="T12" fmla="*/ 864 w 3366"/>
                <a:gd name="T13" fmla="*/ 3129 h 7708"/>
                <a:gd name="T14" fmla="*/ 864 w 3366"/>
                <a:gd name="T15" fmla="*/ 2667 h 7708"/>
                <a:gd name="T16" fmla="*/ 774 w 3366"/>
                <a:gd name="T17" fmla="*/ 2517 h 7708"/>
                <a:gd name="T18" fmla="*/ 50 w 3366"/>
                <a:gd name="T19" fmla="*/ 611 h 7708"/>
                <a:gd name="T20" fmla="*/ 210 w 3366"/>
                <a:gd name="T21" fmla="*/ 110 h 7708"/>
                <a:gd name="T22" fmla="*/ 688 w 3366"/>
                <a:gd name="T23" fmla="*/ 150 h 7708"/>
                <a:gd name="T24" fmla="*/ 806 w 3366"/>
                <a:gd name="T25" fmla="*/ 504 h 7708"/>
                <a:gd name="T26" fmla="*/ 1242 w 3366"/>
                <a:gd name="T27" fmla="*/ 1773 h 7708"/>
                <a:gd name="T28" fmla="*/ 1315 w 3366"/>
                <a:gd name="T29" fmla="*/ 1921 h 7708"/>
                <a:gd name="T30" fmla="*/ 1406 w 3366"/>
                <a:gd name="T31" fmla="*/ 1905 h 7708"/>
                <a:gd name="T32" fmla="*/ 1922 w 3366"/>
                <a:gd name="T33" fmla="*/ 1963 h 7708"/>
                <a:gd name="T34" fmla="*/ 2193 w 3366"/>
                <a:gd name="T35" fmla="*/ 2208 h 7708"/>
                <a:gd name="T36" fmla="*/ 2285 w 3366"/>
                <a:gd name="T37" fmla="*/ 2283 h 7708"/>
                <a:gd name="T38" fmla="*/ 2397 w 3366"/>
                <a:gd name="T39" fmla="*/ 2349 h 7708"/>
                <a:gd name="T40" fmla="*/ 2463 w 3366"/>
                <a:gd name="T41" fmla="*/ 2398 h 7708"/>
                <a:gd name="T42" fmla="*/ 2470 w 3366"/>
                <a:gd name="T43" fmla="*/ 2366 h 7708"/>
                <a:gd name="T44" fmla="*/ 2676 w 3366"/>
                <a:gd name="T45" fmla="*/ 2097 h 7708"/>
                <a:gd name="T46" fmla="*/ 2854 w 3366"/>
                <a:gd name="T47" fmla="*/ 2056 h 7708"/>
                <a:gd name="T48" fmla="*/ 3177 w 3366"/>
                <a:gd name="T49" fmla="*/ 2237 h 7708"/>
                <a:gd name="T50" fmla="*/ 3338 w 3366"/>
                <a:gd name="T51" fmla="*/ 3114 h 7708"/>
                <a:gd name="T52" fmla="*/ 3356 w 3366"/>
                <a:gd name="T53" fmla="*/ 3470 h 7708"/>
                <a:gd name="T54" fmla="*/ 3105 w 3366"/>
                <a:gd name="T55" fmla="*/ 3780 h 7708"/>
                <a:gd name="T56" fmla="*/ 2829 w 3366"/>
                <a:gd name="T57" fmla="*/ 3762 h 7708"/>
                <a:gd name="T58" fmla="*/ 2560 w 3366"/>
                <a:gd name="T59" fmla="*/ 3548 h 7708"/>
                <a:gd name="T60" fmla="*/ 2332 w 3366"/>
                <a:gd name="T61" fmla="*/ 3360 h 7708"/>
                <a:gd name="T62" fmla="*/ 2320 w 3366"/>
                <a:gd name="T63" fmla="*/ 3507 h 7708"/>
                <a:gd name="T64" fmla="*/ 2255 w 3366"/>
                <a:gd name="T65" fmla="*/ 4460 h 7708"/>
                <a:gd name="T66" fmla="*/ 2217 w 3366"/>
                <a:gd name="T67" fmla="*/ 4604 h 7708"/>
                <a:gd name="T68" fmla="*/ 2206 w 3366"/>
                <a:gd name="T69" fmla="*/ 4785 h 7708"/>
                <a:gd name="T70" fmla="*/ 2239 w 3366"/>
                <a:gd name="T71" fmla="*/ 5167 h 7708"/>
                <a:gd name="T72" fmla="*/ 2363 w 3366"/>
                <a:gd name="T73" fmla="*/ 6617 h 7708"/>
                <a:gd name="T74" fmla="*/ 2432 w 3366"/>
                <a:gd name="T75" fmla="*/ 7225 h 7708"/>
                <a:gd name="T76" fmla="*/ 2411 w 3366"/>
                <a:gd name="T77" fmla="*/ 7339 h 7708"/>
                <a:gd name="T78" fmla="*/ 2180 w 3366"/>
                <a:gd name="T79" fmla="*/ 7592 h 7708"/>
                <a:gd name="T80" fmla="*/ 1854 w 3366"/>
                <a:gd name="T81" fmla="*/ 7600 h 7708"/>
                <a:gd name="T82" fmla="*/ 1706 w 3366"/>
                <a:gd name="T83" fmla="*/ 7412 h 7708"/>
                <a:gd name="T84" fmla="*/ 1538 w 3366"/>
                <a:gd name="T85" fmla="*/ 5898 h 7708"/>
                <a:gd name="T86" fmla="*/ 1494 w 3366"/>
                <a:gd name="T87" fmla="*/ 5373 h 7708"/>
                <a:gd name="T88" fmla="*/ 1470 w 3366"/>
                <a:gd name="T89" fmla="*/ 5085 h 7708"/>
                <a:gd name="T90" fmla="*/ 1393 w 3366"/>
                <a:gd name="T91" fmla="*/ 5050 h 7708"/>
                <a:gd name="T92" fmla="*/ 1315 w 3366"/>
                <a:gd name="T93" fmla="*/ 5038 h 7708"/>
                <a:gd name="T94" fmla="*/ 1212 w 3366"/>
                <a:gd name="T95" fmla="*/ 5410 h 7708"/>
                <a:gd name="T96" fmla="*/ 939 w 3366"/>
                <a:gd name="T97" fmla="*/ 7123 h 7708"/>
                <a:gd name="T98" fmla="*/ 901 w 3366"/>
                <a:gd name="T99" fmla="*/ 7393 h 7708"/>
                <a:gd name="T100" fmla="*/ 386 w 3366"/>
                <a:gd name="T101" fmla="*/ 7638 h 7708"/>
                <a:gd name="T102" fmla="*/ 1945 w 3366"/>
                <a:gd name="T103" fmla="*/ 1890 h 7708"/>
                <a:gd name="T104" fmla="*/ 1553 w 3366"/>
                <a:gd name="T105" fmla="*/ 1693 h 7708"/>
                <a:gd name="T106" fmla="*/ 1358 w 3366"/>
                <a:gd name="T107" fmla="*/ 1217 h 7708"/>
                <a:gd name="T108" fmla="*/ 1832 w 3366"/>
                <a:gd name="T109" fmla="*/ 579 h 7708"/>
                <a:gd name="T110" fmla="*/ 2219 w 3366"/>
                <a:gd name="T111" fmla="*/ 577 h 7708"/>
                <a:gd name="T112" fmla="*/ 2616 w 3366"/>
                <a:gd name="T113" fmla="*/ 902 h 7708"/>
                <a:gd name="T114" fmla="*/ 2696 w 3366"/>
                <a:gd name="T115" fmla="*/ 1223 h 7708"/>
                <a:gd name="T116" fmla="*/ 2249 w 3366"/>
                <a:gd name="T117" fmla="*/ 1853 h 7708"/>
                <a:gd name="T118" fmla="*/ 1945 w 3366"/>
                <a:gd name="T119" fmla="*/ 1890 h 7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66" h="7708">
                  <a:moveTo>
                    <a:pt x="386" y="7638"/>
                  </a:moveTo>
                  <a:cubicBezTo>
                    <a:pt x="351" y="7625"/>
                    <a:pt x="302" y="7599"/>
                    <a:pt x="277" y="7581"/>
                  </a:cubicBezTo>
                  <a:cubicBezTo>
                    <a:pt x="224" y="7540"/>
                    <a:pt x="172" y="7445"/>
                    <a:pt x="162" y="7370"/>
                  </a:cubicBezTo>
                  <a:cubicBezTo>
                    <a:pt x="154" y="7308"/>
                    <a:pt x="218" y="6644"/>
                    <a:pt x="264" y="6317"/>
                  </a:cubicBezTo>
                  <a:cubicBezTo>
                    <a:pt x="343" y="5751"/>
                    <a:pt x="451" y="5247"/>
                    <a:pt x="585" y="4817"/>
                  </a:cubicBezTo>
                  <a:cubicBezTo>
                    <a:pt x="641" y="4639"/>
                    <a:pt x="772" y="4280"/>
                    <a:pt x="807" y="4210"/>
                  </a:cubicBezTo>
                  <a:cubicBezTo>
                    <a:pt x="840" y="4145"/>
                    <a:pt x="864" y="3688"/>
                    <a:pt x="864" y="3129"/>
                  </a:cubicBezTo>
                  <a:lnTo>
                    <a:pt x="864" y="2667"/>
                  </a:lnTo>
                  <a:lnTo>
                    <a:pt x="774" y="2517"/>
                  </a:lnTo>
                  <a:cubicBezTo>
                    <a:pt x="447" y="1967"/>
                    <a:pt x="178" y="1259"/>
                    <a:pt x="50" y="611"/>
                  </a:cubicBezTo>
                  <a:cubicBezTo>
                    <a:pt x="0" y="357"/>
                    <a:pt x="45" y="216"/>
                    <a:pt x="210" y="110"/>
                  </a:cubicBezTo>
                  <a:cubicBezTo>
                    <a:pt x="380" y="0"/>
                    <a:pt x="573" y="16"/>
                    <a:pt x="688" y="150"/>
                  </a:cubicBezTo>
                  <a:cubicBezTo>
                    <a:pt x="737" y="208"/>
                    <a:pt x="747" y="237"/>
                    <a:pt x="806" y="504"/>
                  </a:cubicBezTo>
                  <a:cubicBezTo>
                    <a:pt x="913" y="980"/>
                    <a:pt x="1045" y="1365"/>
                    <a:pt x="1242" y="1773"/>
                  </a:cubicBezTo>
                  <a:cubicBezTo>
                    <a:pt x="1281" y="1852"/>
                    <a:pt x="1313" y="1918"/>
                    <a:pt x="1315" y="1921"/>
                  </a:cubicBezTo>
                  <a:cubicBezTo>
                    <a:pt x="1317" y="1923"/>
                    <a:pt x="1357" y="1916"/>
                    <a:pt x="1406" y="1905"/>
                  </a:cubicBezTo>
                  <a:cubicBezTo>
                    <a:pt x="1584" y="1865"/>
                    <a:pt x="1774" y="1886"/>
                    <a:pt x="1922" y="1963"/>
                  </a:cubicBezTo>
                  <a:cubicBezTo>
                    <a:pt x="2014" y="2011"/>
                    <a:pt x="2140" y="2125"/>
                    <a:pt x="2193" y="2208"/>
                  </a:cubicBezTo>
                  <a:cubicBezTo>
                    <a:pt x="2223" y="2254"/>
                    <a:pt x="2243" y="2270"/>
                    <a:pt x="2285" y="2283"/>
                  </a:cubicBezTo>
                  <a:cubicBezTo>
                    <a:pt x="2314" y="2292"/>
                    <a:pt x="2365" y="2322"/>
                    <a:pt x="2397" y="2349"/>
                  </a:cubicBezTo>
                  <a:cubicBezTo>
                    <a:pt x="2429" y="2376"/>
                    <a:pt x="2459" y="2398"/>
                    <a:pt x="2463" y="2398"/>
                  </a:cubicBezTo>
                  <a:cubicBezTo>
                    <a:pt x="2467" y="2398"/>
                    <a:pt x="2470" y="2384"/>
                    <a:pt x="2470" y="2366"/>
                  </a:cubicBezTo>
                  <a:cubicBezTo>
                    <a:pt x="2470" y="2273"/>
                    <a:pt x="2562" y="2153"/>
                    <a:pt x="2676" y="2097"/>
                  </a:cubicBezTo>
                  <a:cubicBezTo>
                    <a:pt x="2745" y="2063"/>
                    <a:pt x="2771" y="2057"/>
                    <a:pt x="2854" y="2056"/>
                  </a:cubicBezTo>
                  <a:cubicBezTo>
                    <a:pt x="3006" y="2056"/>
                    <a:pt x="3116" y="2117"/>
                    <a:pt x="3177" y="2237"/>
                  </a:cubicBezTo>
                  <a:cubicBezTo>
                    <a:pt x="3234" y="2349"/>
                    <a:pt x="3285" y="2628"/>
                    <a:pt x="3338" y="3114"/>
                  </a:cubicBezTo>
                  <a:cubicBezTo>
                    <a:pt x="3363" y="3344"/>
                    <a:pt x="3366" y="3412"/>
                    <a:pt x="3356" y="3470"/>
                  </a:cubicBezTo>
                  <a:cubicBezTo>
                    <a:pt x="3329" y="3615"/>
                    <a:pt x="3229" y="3739"/>
                    <a:pt x="3105" y="3780"/>
                  </a:cubicBezTo>
                  <a:cubicBezTo>
                    <a:pt x="3025" y="3806"/>
                    <a:pt x="2905" y="3799"/>
                    <a:pt x="2829" y="3762"/>
                  </a:cubicBezTo>
                  <a:cubicBezTo>
                    <a:pt x="2799" y="3747"/>
                    <a:pt x="2678" y="3651"/>
                    <a:pt x="2560" y="3548"/>
                  </a:cubicBezTo>
                  <a:cubicBezTo>
                    <a:pt x="2442" y="3445"/>
                    <a:pt x="2339" y="3360"/>
                    <a:pt x="2332" y="3360"/>
                  </a:cubicBezTo>
                  <a:cubicBezTo>
                    <a:pt x="2325" y="3360"/>
                    <a:pt x="2320" y="3416"/>
                    <a:pt x="2320" y="3507"/>
                  </a:cubicBezTo>
                  <a:cubicBezTo>
                    <a:pt x="2320" y="3736"/>
                    <a:pt x="2281" y="4306"/>
                    <a:pt x="2255" y="4460"/>
                  </a:cubicBezTo>
                  <a:cubicBezTo>
                    <a:pt x="2248" y="4505"/>
                    <a:pt x="2230" y="4570"/>
                    <a:pt x="2217" y="4604"/>
                  </a:cubicBezTo>
                  <a:cubicBezTo>
                    <a:pt x="2195" y="4661"/>
                    <a:pt x="2194" y="4678"/>
                    <a:pt x="2206" y="4785"/>
                  </a:cubicBezTo>
                  <a:cubicBezTo>
                    <a:pt x="2214" y="4851"/>
                    <a:pt x="2229" y="5022"/>
                    <a:pt x="2239" y="5167"/>
                  </a:cubicBezTo>
                  <a:cubicBezTo>
                    <a:pt x="2273" y="5630"/>
                    <a:pt x="2344" y="6462"/>
                    <a:pt x="2363" y="6617"/>
                  </a:cubicBezTo>
                  <a:cubicBezTo>
                    <a:pt x="2407" y="6959"/>
                    <a:pt x="2432" y="7187"/>
                    <a:pt x="2432" y="7225"/>
                  </a:cubicBezTo>
                  <a:cubicBezTo>
                    <a:pt x="2432" y="7247"/>
                    <a:pt x="2423" y="7298"/>
                    <a:pt x="2411" y="7339"/>
                  </a:cubicBezTo>
                  <a:cubicBezTo>
                    <a:pt x="2383" y="7440"/>
                    <a:pt x="2289" y="7542"/>
                    <a:pt x="2180" y="7592"/>
                  </a:cubicBezTo>
                  <a:cubicBezTo>
                    <a:pt x="2074" y="7641"/>
                    <a:pt x="1943" y="7644"/>
                    <a:pt x="1854" y="7600"/>
                  </a:cubicBezTo>
                  <a:cubicBezTo>
                    <a:pt x="1787" y="7567"/>
                    <a:pt x="1723" y="7485"/>
                    <a:pt x="1706" y="7412"/>
                  </a:cubicBezTo>
                  <a:cubicBezTo>
                    <a:pt x="1674" y="7267"/>
                    <a:pt x="1574" y="6368"/>
                    <a:pt x="1538" y="5898"/>
                  </a:cubicBezTo>
                  <a:cubicBezTo>
                    <a:pt x="1527" y="5757"/>
                    <a:pt x="1508" y="5521"/>
                    <a:pt x="1494" y="5373"/>
                  </a:cubicBezTo>
                  <a:cubicBezTo>
                    <a:pt x="1481" y="5225"/>
                    <a:pt x="1470" y="5095"/>
                    <a:pt x="1470" y="5085"/>
                  </a:cubicBezTo>
                  <a:cubicBezTo>
                    <a:pt x="1470" y="5071"/>
                    <a:pt x="1447" y="5061"/>
                    <a:pt x="1393" y="5050"/>
                  </a:cubicBezTo>
                  <a:cubicBezTo>
                    <a:pt x="1351" y="5041"/>
                    <a:pt x="1316" y="5035"/>
                    <a:pt x="1315" y="5038"/>
                  </a:cubicBezTo>
                  <a:cubicBezTo>
                    <a:pt x="1308" y="5048"/>
                    <a:pt x="1249" y="5261"/>
                    <a:pt x="1212" y="5410"/>
                  </a:cubicBezTo>
                  <a:cubicBezTo>
                    <a:pt x="1088" y="5895"/>
                    <a:pt x="1004" y="6428"/>
                    <a:pt x="939" y="7123"/>
                  </a:cubicBezTo>
                  <a:cubicBezTo>
                    <a:pt x="928" y="7236"/>
                    <a:pt x="911" y="7358"/>
                    <a:pt x="901" y="7393"/>
                  </a:cubicBezTo>
                  <a:cubicBezTo>
                    <a:pt x="846" y="7584"/>
                    <a:pt x="584" y="7708"/>
                    <a:pt x="386" y="7638"/>
                  </a:cubicBezTo>
                  <a:close/>
                  <a:moveTo>
                    <a:pt x="1945" y="1890"/>
                  </a:moveTo>
                  <a:cubicBezTo>
                    <a:pt x="1809" y="1873"/>
                    <a:pt x="1653" y="1795"/>
                    <a:pt x="1553" y="1693"/>
                  </a:cubicBezTo>
                  <a:cubicBezTo>
                    <a:pt x="1423" y="1562"/>
                    <a:pt x="1358" y="1401"/>
                    <a:pt x="1358" y="1217"/>
                  </a:cubicBezTo>
                  <a:cubicBezTo>
                    <a:pt x="1358" y="929"/>
                    <a:pt x="1548" y="673"/>
                    <a:pt x="1832" y="579"/>
                  </a:cubicBezTo>
                  <a:cubicBezTo>
                    <a:pt x="1923" y="548"/>
                    <a:pt x="2123" y="548"/>
                    <a:pt x="2219" y="577"/>
                  </a:cubicBezTo>
                  <a:cubicBezTo>
                    <a:pt x="2377" y="625"/>
                    <a:pt x="2545" y="763"/>
                    <a:pt x="2616" y="902"/>
                  </a:cubicBezTo>
                  <a:cubicBezTo>
                    <a:pt x="2678" y="1025"/>
                    <a:pt x="2696" y="1097"/>
                    <a:pt x="2696" y="1223"/>
                  </a:cubicBezTo>
                  <a:cubicBezTo>
                    <a:pt x="2696" y="1512"/>
                    <a:pt x="2524" y="1755"/>
                    <a:pt x="2249" y="1853"/>
                  </a:cubicBezTo>
                  <a:cubicBezTo>
                    <a:pt x="2164" y="1884"/>
                    <a:pt x="2028" y="1900"/>
                    <a:pt x="1945" y="1890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5" name="Oval 10">
            <a:extLst>
              <a:ext uri="{FF2B5EF4-FFF2-40B4-BE49-F238E27FC236}">
                <a16:creationId xmlns:a16="http://schemas.microsoft.com/office/drawing/2014/main" id="{A243E866-9020-8A59-9D7B-87904A555BD3}"/>
              </a:ext>
            </a:extLst>
          </p:cNvPr>
          <p:cNvSpPr/>
          <p:nvPr/>
        </p:nvSpPr>
        <p:spPr>
          <a:xfrm>
            <a:off x="10666895" y="5926134"/>
            <a:ext cx="298889" cy="298889"/>
          </a:xfrm>
          <a:prstGeom prst="ellipse">
            <a:avLst/>
          </a:prstGeom>
          <a:solidFill>
            <a:srgbClr val="1560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B204B01-4765-4407-A0BE-A8E001ACB48B}"/>
              </a:ext>
            </a:extLst>
          </p:cNvPr>
          <p:cNvGrpSpPr/>
          <p:nvPr/>
        </p:nvGrpSpPr>
        <p:grpSpPr>
          <a:xfrm flipH="1">
            <a:off x="1" y="4460421"/>
            <a:ext cx="12191999" cy="2419506"/>
            <a:chOff x="1" y="4460421"/>
            <a:chExt cx="12191999" cy="2419506"/>
          </a:xfrm>
        </p:grpSpPr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AFCDAB66-6697-4928-9A5E-0BBC074B0DAD}"/>
                </a:ext>
              </a:extLst>
            </p:cNvPr>
            <p:cNvSpPr/>
            <p:nvPr/>
          </p:nvSpPr>
          <p:spPr>
            <a:xfrm>
              <a:off x="1" y="4460421"/>
              <a:ext cx="12191999" cy="2416629"/>
            </a:xfrm>
            <a:custGeom>
              <a:avLst/>
              <a:gdLst>
                <a:gd name="connsiteX0" fmla="*/ 8957869 w 12191999"/>
                <a:gd name="connsiteY0" fmla="*/ 2 h 2735201"/>
                <a:gd name="connsiteX1" fmla="*/ 10308907 w 12191999"/>
                <a:gd name="connsiteY1" fmla="*/ 807424 h 2735201"/>
                <a:gd name="connsiteX2" fmla="*/ 10570413 w 12191999"/>
                <a:gd name="connsiteY2" fmla="*/ 1015401 h 2735201"/>
                <a:gd name="connsiteX3" fmla="*/ 11524632 w 12191999"/>
                <a:gd name="connsiteY3" fmla="*/ 1661816 h 2735201"/>
                <a:gd name="connsiteX4" fmla="*/ 11624783 w 12191999"/>
                <a:gd name="connsiteY4" fmla="*/ 1833257 h 2735201"/>
                <a:gd name="connsiteX5" fmla="*/ 11852906 w 12191999"/>
                <a:gd name="connsiteY5" fmla="*/ 1836067 h 2735201"/>
                <a:gd name="connsiteX6" fmla="*/ 12144607 w 12191999"/>
                <a:gd name="connsiteY6" fmla="*/ 1878209 h 2735201"/>
                <a:gd name="connsiteX7" fmla="*/ 12191999 w 12191999"/>
                <a:gd name="connsiteY7" fmla="*/ 1894228 h 2735201"/>
                <a:gd name="connsiteX8" fmla="*/ 12191999 w 12191999"/>
                <a:gd name="connsiteY8" fmla="*/ 2735201 h 2735201"/>
                <a:gd name="connsiteX9" fmla="*/ 6452313 w 12191999"/>
                <a:gd name="connsiteY9" fmla="*/ 2735201 h 2735201"/>
                <a:gd name="connsiteX10" fmla="*/ 5172234 w 12191999"/>
                <a:gd name="connsiteY10" fmla="*/ 2735201 h 2735201"/>
                <a:gd name="connsiteX11" fmla="*/ 2657884 w 12191999"/>
                <a:gd name="connsiteY11" fmla="*/ 2735201 h 2735201"/>
                <a:gd name="connsiteX12" fmla="*/ 1235768 w 12191999"/>
                <a:gd name="connsiteY12" fmla="*/ 2735201 h 2735201"/>
                <a:gd name="connsiteX13" fmla="*/ 0 w 12191999"/>
                <a:gd name="connsiteY13" fmla="*/ 2735201 h 2735201"/>
                <a:gd name="connsiteX14" fmla="*/ 0 w 12191999"/>
                <a:gd name="connsiteY14" fmla="*/ 1746328 h 2735201"/>
                <a:gd name="connsiteX15" fmla="*/ 39705 w 12191999"/>
                <a:gd name="connsiteY15" fmla="*/ 1798250 h 2735201"/>
                <a:gd name="connsiteX16" fmla="*/ 186799 w 12191999"/>
                <a:gd name="connsiteY16" fmla="*/ 1760135 h 2735201"/>
                <a:gd name="connsiteX17" fmla="*/ 729916 w 12191999"/>
                <a:gd name="connsiteY17" fmla="*/ 1594336 h 2735201"/>
                <a:gd name="connsiteX18" fmla="*/ 1325836 w 12191999"/>
                <a:gd name="connsiteY18" fmla="*/ 1847799 h 2735201"/>
                <a:gd name="connsiteX19" fmla="*/ 1534160 w 12191999"/>
                <a:gd name="connsiteY19" fmla="*/ 2150335 h 2735201"/>
                <a:gd name="connsiteX20" fmla="*/ 1544687 w 12191999"/>
                <a:gd name="connsiteY20" fmla="*/ 2171439 h 2735201"/>
                <a:gd name="connsiteX21" fmla="*/ 1545220 w 12191999"/>
                <a:gd name="connsiteY21" fmla="*/ 2170800 h 2735201"/>
                <a:gd name="connsiteX22" fmla="*/ 2359487 w 12191999"/>
                <a:gd name="connsiteY22" fmla="*/ 1859106 h 2735201"/>
                <a:gd name="connsiteX23" fmla="*/ 2704296 w 12191999"/>
                <a:gd name="connsiteY23" fmla="*/ 1775434 h 2735201"/>
                <a:gd name="connsiteX24" fmla="*/ 3093885 w 12191999"/>
                <a:gd name="connsiteY24" fmla="*/ 1196514 h 2735201"/>
                <a:gd name="connsiteX25" fmla="*/ 4197720 w 12191999"/>
                <a:gd name="connsiteY25" fmla="*/ 769108 h 2735201"/>
                <a:gd name="connsiteX26" fmla="*/ 5288121 w 12191999"/>
                <a:gd name="connsiteY26" fmla="*/ 1189730 h 2735201"/>
                <a:gd name="connsiteX27" fmla="*/ 5636569 w 12191999"/>
                <a:gd name="connsiteY27" fmla="*/ 1639184 h 2735201"/>
                <a:gd name="connsiteX28" fmla="*/ 5669040 w 12191999"/>
                <a:gd name="connsiteY28" fmla="*/ 1715253 h 2735201"/>
                <a:gd name="connsiteX29" fmla="*/ 5772236 w 12191999"/>
                <a:gd name="connsiteY29" fmla="*/ 1691376 h 2735201"/>
                <a:gd name="connsiteX30" fmla="*/ 6094206 w 12191999"/>
                <a:gd name="connsiteY30" fmla="*/ 1703974 h 2735201"/>
                <a:gd name="connsiteX31" fmla="*/ 6275035 w 12191999"/>
                <a:gd name="connsiteY31" fmla="*/ 1642143 h 2735201"/>
                <a:gd name="connsiteX32" fmla="*/ 6742408 w 12191999"/>
                <a:gd name="connsiteY32" fmla="*/ 1240241 h 2735201"/>
                <a:gd name="connsiteX33" fmla="*/ 7184742 w 12191999"/>
                <a:gd name="connsiteY33" fmla="*/ 1169978 h 2735201"/>
                <a:gd name="connsiteX34" fmla="*/ 7465723 w 12191999"/>
                <a:gd name="connsiteY34" fmla="*/ 1169978 h 2735201"/>
                <a:gd name="connsiteX35" fmla="*/ 7521362 w 12191999"/>
                <a:gd name="connsiteY35" fmla="*/ 1018211 h 2735201"/>
                <a:gd name="connsiteX36" fmla="*/ 7958133 w 12191999"/>
                <a:gd name="connsiteY36" fmla="*/ 374606 h 2735201"/>
                <a:gd name="connsiteX37" fmla="*/ 8728742 w 12191999"/>
                <a:gd name="connsiteY37" fmla="*/ 20483 h 2735201"/>
                <a:gd name="connsiteX38" fmla="*/ 8957869 w 12191999"/>
                <a:gd name="connsiteY38" fmla="*/ 2 h 2735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191999" h="2735201">
                  <a:moveTo>
                    <a:pt x="8957869" y="2"/>
                  </a:moveTo>
                  <a:cubicBezTo>
                    <a:pt x="9496785" y="-728"/>
                    <a:pt x="10050878" y="320504"/>
                    <a:pt x="10308907" y="807424"/>
                  </a:cubicBezTo>
                  <a:cubicBezTo>
                    <a:pt x="10406276" y="990106"/>
                    <a:pt x="10417404" y="1001348"/>
                    <a:pt x="10570413" y="1015401"/>
                  </a:cubicBezTo>
                  <a:cubicBezTo>
                    <a:pt x="10907033" y="1049127"/>
                    <a:pt x="11329893" y="1335798"/>
                    <a:pt x="11524632" y="1661816"/>
                  </a:cubicBezTo>
                  <a:lnTo>
                    <a:pt x="11624783" y="1833257"/>
                  </a:lnTo>
                  <a:lnTo>
                    <a:pt x="11852906" y="1836067"/>
                  </a:lnTo>
                  <a:cubicBezTo>
                    <a:pt x="11954101" y="1837121"/>
                    <a:pt x="12052165" y="1851613"/>
                    <a:pt x="12144607" y="1878209"/>
                  </a:cubicBezTo>
                  <a:lnTo>
                    <a:pt x="12191999" y="1894228"/>
                  </a:lnTo>
                  <a:lnTo>
                    <a:pt x="12191999" y="2735201"/>
                  </a:lnTo>
                  <a:lnTo>
                    <a:pt x="6452313" y="2735201"/>
                  </a:lnTo>
                  <a:lnTo>
                    <a:pt x="5172234" y="2735201"/>
                  </a:lnTo>
                  <a:lnTo>
                    <a:pt x="2657884" y="2735201"/>
                  </a:lnTo>
                  <a:lnTo>
                    <a:pt x="1235768" y="2735201"/>
                  </a:lnTo>
                  <a:lnTo>
                    <a:pt x="0" y="2735201"/>
                  </a:lnTo>
                  <a:lnTo>
                    <a:pt x="0" y="1746328"/>
                  </a:lnTo>
                  <a:lnTo>
                    <a:pt x="39705" y="1798250"/>
                  </a:lnTo>
                  <a:cubicBezTo>
                    <a:pt x="66106" y="1836365"/>
                    <a:pt x="77421" y="1834459"/>
                    <a:pt x="186799" y="1760135"/>
                  </a:cubicBezTo>
                  <a:cubicBezTo>
                    <a:pt x="360295" y="1641979"/>
                    <a:pt x="511160" y="1596242"/>
                    <a:pt x="729916" y="1594336"/>
                  </a:cubicBezTo>
                  <a:cubicBezTo>
                    <a:pt x="971301" y="1594336"/>
                    <a:pt x="1152340" y="1670566"/>
                    <a:pt x="1325836" y="1847799"/>
                  </a:cubicBezTo>
                  <a:cubicBezTo>
                    <a:pt x="1391840" y="1916882"/>
                    <a:pt x="1478470" y="2046264"/>
                    <a:pt x="1534160" y="2150335"/>
                  </a:cubicBezTo>
                  <a:lnTo>
                    <a:pt x="1544687" y="2171439"/>
                  </a:lnTo>
                  <a:lnTo>
                    <a:pt x="1545220" y="2170800"/>
                  </a:lnTo>
                  <a:cubicBezTo>
                    <a:pt x="1757752" y="1956629"/>
                    <a:pt x="2065617" y="1826598"/>
                    <a:pt x="2359487" y="1859106"/>
                  </a:cubicBezTo>
                  <a:cubicBezTo>
                    <a:pt x="2679667" y="1895288"/>
                    <a:pt x="2655038" y="1899811"/>
                    <a:pt x="2704296" y="1775434"/>
                  </a:cubicBezTo>
                  <a:cubicBezTo>
                    <a:pt x="2766988" y="1610351"/>
                    <a:pt x="2977456" y="1300538"/>
                    <a:pt x="3093885" y="1196514"/>
                  </a:cubicBezTo>
                  <a:cubicBezTo>
                    <a:pt x="3416303" y="909315"/>
                    <a:pt x="3779024" y="769108"/>
                    <a:pt x="4197720" y="769108"/>
                  </a:cubicBezTo>
                  <a:cubicBezTo>
                    <a:pt x="4643284" y="769108"/>
                    <a:pt x="4974659" y="895747"/>
                    <a:pt x="5288121" y="1189730"/>
                  </a:cubicBezTo>
                  <a:cubicBezTo>
                    <a:pt x="5431418" y="1323153"/>
                    <a:pt x="5548967" y="1475232"/>
                    <a:pt x="5636569" y="1639184"/>
                  </a:cubicBezTo>
                  <a:lnTo>
                    <a:pt x="5669040" y="1715253"/>
                  </a:lnTo>
                  <a:lnTo>
                    <a:pt x="5772236" y="1691376"/>
                  </a:lnTo>
                  <a:cubicBezTo>
                    <a:pt x="5883471" y="1672751"/>
                    <a:pt x="5995098" y="1675518"/>
                    <a:pt x="6094206" y="1703974"/>
                  </a:cubicBezTo>
                  <a:cubicBezTo>
                    <a:pt x="6216613" y="1737700"/>
                    <a:pt x="6227741" y="1734889"/>
                    <a:pt x="6275035" y="1642143"/>
                  </a:cubicBezTo>
                  <a:cubicBezTo>
                    <a:pt x="6344584" y="1507239"/>
                    <a:pt x="6553233" y="1327367"/>
                    <a:pt x="6742408" y="1240241"/>
                  </a:cubicBezTo>
                  <a:cubicBezTo>
                    <a:pt x="6862033" y="1186841"/>
                    <a:pt x="6973312" y="1167168"/>
                    <a:pt x="7184742" y="1169978"/>
                  </a:cubicBezTo>
                  <a:lnTo>
                    <a:pt x="7465723" y="1169978"/>
                  </a:lnTo>
                  <a:lnTo>
                    <a:pt x="7521362" y="1018211"/>
                  </a:lnTo>
                  <a:cubicBezTo>
                    <a:pt x="7599258" y="807424"/>
                    <a:pt x="7807906" y="501079"/>
                    <a:pt x="7958133" y="374606"/>
                  </a:cubicBezTo>
                  <a:cubicBezTo>
                    <a:pt x="8152872" y="208787"/>
                    <a:pt x="8458889" y="71072"/>
                    <a:pt x="8728742" y="20483"/>
                  </a:cubicBezTo>
                  <a:cubicBezTo>
                    <a:pt x="8804203" y="6782"/>
                    <a:pt x="8880881" y="107"/>
                    <a:pt x="8957869" y="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</a:ln>
            <a:effectLst>
              <a:outerShdw blurRad="241300" dist="38100" dir="1440000" algn="tl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  <p:sp useBgFill="1"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04221490-9EAC-4168-8A93-AC881F3E65AC}"/>
                </a:ext>
              </a:extLst>
            </p:cNvPr>
            <p:cNvSpPr/>
            <p:nvPr/>
          </p:nvSpPr>
          <p:spPr>
            <a:xfrm>
              <a:off x="1" y="4611667"/>
              <a:ext cx="12191999" cy="2268260"/>
            </a:xfrm>
            <a:custGeom>
              <a:avLst/>
              <a:gdLst>
                <a:gd name="connsiteX0" fmla="*/ 8957869 w 12191999"/>
                <a:gd name="connsiteY0" fmla="*/ 2 h 2735201"/>
                <a:gd name="connsiteX1" fmla="*/ 10308907 w 12191999"/>
                <a:gd name="connsiteY1" fmla="*/ 807424 h 2735201"/>
                <a:gd name="connsiteX2" fmla="*/ 10570413 w 12191999"/>
                <a:gd name="connsiteY2" fmla="*/ 1015401 h 2735201"/>
                <a:gd name="connsiteX3" fmla="*/ 11524632 w 12191999"/>
                <a:gd name="connsiteY3" fmla="*/ 1661816 h 2735201"/>
                <a:gd name="connsiteX4" fmla="*/ 11624783 w 12191999"/>
                <a:gd name="connsiteY4" fmla="*/ 1833257 h 2735201"/>
                <a:gd name="connsiteX5" fmla="*/ 11852906 w 12191999"/>
                <a:gd name="connsiteY5" fmla="*/ 1836067 h 2735201"/>
                <a:gd name="connsiteX6" fmla="*/ 12144607 w 12191999"/>
                <a:gd name="connsiteY6" fmla="*/ 1878209 h 2735201"/>
                <a:gd name="connsiteX7" fmla="*/ 12191999 w 12191999"/>
                <a:gd name="connsiteY7" fmla="*/ 1894228 h 2735201"/>
                <a:gd name="connsiteX8" fmla="*/ 12191999 w 12191999"/>
                <a:gd name="connsiteY8" fmla="*/ 2735201 h 2735201"/>
                <a:gd name="connsiteX9" fmla="*/ 6452313 w 12191999"/>
                <a:gd name="connsiteY9" fmla="*/ 2735201 h 2735201"/>
                <a:gd name="connsiteX10" fmla="*/ 5172234 w 12191999"/>
                <a:gd name="connsiteY10" fmla="*/ 2735201 h 2735201"/>
                <a:gd name="connsiteX11" fmla="*/ 2657884 w 12191999"/>
                <a:gd name="connsiteY11" fmla="*/ 2735201 h 2735201"/>
                <a:gd name="connsiteX12" fmla="*/ 1235768 w 12191999"/>
                <a:gd name="connsiteY12" fmla="*/ 2735201 h 2735201"/>
                <a:gd name="connsiteX13" fmla="*/ 0 w 12191999"/>
                <a:gd name="connsiteY13" fmla="*/ 2735201 h 2735201"/>
                <a:gd name="connsiteX14" fmla="*/ 0 w 12191999"/>
                <a:gd name="connsiteY14" fmla="*/ 1746328 h 2735201"/>
                <a:gd name="connsiteX15" fmla="*/ 39705 w 12191999"/>
                <a:gd name="connsiteY15" fmla="*/ 1798250 h 2735201"/>
                <a:gd name="connsiteX16" fmla="*/ 186799 w 12191999"/>
                <a:gd name="connsiteY16" fmla="*/ 1760135 h 2735201"/>
                <a:gd name="connsiteX17" fmla="*/ 729916 w 12191999"/>
                <a:gd name="connsiteY17" fmla="*/ 1594336 h 2735201"/>
                <a:gd name="connsiteX18" fmla="*/ 1325836 w 12191999"/>
                <a:gd name="connsiteY18" fmla="*/ 1847799 h 2735201"/>
                <a:gd name="connsiteX19" fmla="*/ 1534160 w 12191999"/>
                <a:gd name="connsiteY19" fmla="*/ 2150335 h 2735201"/>
                <a:gd name="connsiteX20" fmla="*/ 1544687 w 12191999"/>
                <a:gd name="connsiteY20" fmla="*/ 2171439 h 2735201"/>
                <a:gd name="connsiteX21" fmla="*/ 1545220 w 12191999"/>
                <a:gd name="connsiteY21" fmla="*/ 2170800 h 2735201"/>
                <a:gd name="connsiteX22" fmla="*/ 2359487 w 12191999"/>
                <a:gd name="connsiteY22" fmla="*/ 1859106 h 2735201"/>
                <a:gd name="connsiteX23" fmla="*/ 2704296 w 12191999"/>
                <a:gd name="connsiteY23" fmla="*/ 1775434 h 2735201"/>
                <a:gd name="connsiteX24" fmla="*/ 3093885 w 12191999"/>
                <a:gd name="connsiteY24" fmla="*/ 1196514 h 2735201"/>
                <a:gd name="connsiteX25" fmla="*/ 4197720 w 12191999"/>
                <a:gd name="connsiteY25" fmla="*/ 769108 h 2735201"/>
                <a:gd name="connsiteX26" fmla="*/ 5288121 w 12191999"/>
                <a:gd name="connsiteY26" fmla="*/ 1189730 h 2735201"/>
                <a:gd name="connsiteX27" fmla="*/ 5636569 w 12191999"/>
                <a:gd name="connsiteY27" fmla="*/ 1639184 h 2735201"/>
                <a:gd name="connsiteX28" fmla="*/ 5669040 w 12191999"/>
                <a:gd name="connsiteY28" fmla="*/ 1715253 h 2735201"/>
                <a:gd name="connsiteX29" fmla="*/ 5772236 w 12191999"/>
                <a:gd name="connsiteY29" fmla="*/ 1691376 h 2735201"/>
                <a:gd name="connsiteX30" fmla="*/ 6094206 w 12191999"/>
                <a:gd name="connsiteY30" fmla="*/ 1703974 h 2735201"/>
                <a:gd name="connsiteX31" fmla="*/ 6275035 w 12191999"/>
                <a:gd name="connsiteY31" fmla="*/ 1642143 h 2735201"/>
                <a:gd name="connsiteX32" fmla="*/ 6742408 w 12191999"/>
                <a:gd name="connsiteY32" fmla="*/ 1240241 h 2735201"/>
                <a:gd name="connsiteX33" fmla="*/ 7184742 w 12191999"/>
                <a:gd name="connsiteY33" fmla="*/ 1169978 h 2735201"/>
                <a:gd name="connsiteX34" fmla="*/ 7465723 w 12191999"/>
                <a:gd name="connsiteY34" fmla="*/ 1169978 h 2735201"/>
                <a:gd name="connsiteX35" fmla="*/ 7521362 w 12191999"/>
                <a:gd name="connsiteY35" fmla="*/ 1018211 h 2735201"/>
                <a:gd name="connsiteX36" fmla="*/ 7958133 w 12191999"/>
                <a:gd name="connsiteY36" fmla="*/ 374606 h 2735201"/>
                <a:gd name="connsiteX37" fmla="*/ 8728742 w 12191999"/>
                <a:gd name="connsiteY37" fmla="*/ 20483 h 2735201"/>
                <a:gd name="connsiteX38" fmla="*/ 8957869 w 12191999"/>
                <a:gd name="connsiteY38" fmla="*/ 2 h 2735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191999" h="2735201">
                  <a:moveTo>
                    <a:pt x="8957869" y="2"/>
                  </a:moveTo>
                  <a:cubicBezTo>
                    <a:pt x="9496785" y="-728"/>
                    <a:pt x="10050878" y="320504"/>
                    <a:pt x="10308907" y="807424"/>
                  </a:cubicBezTo>
                  <a:cubicBezTo>
                    <a:pt x="10406276" y="990106"/>
                    <a:pt x="10417404" y="1001348"/>
                    <a:pt x="10570413" y="1015401"/>
                  </a:cubicBezTo>
                  <a:cubicBezTo>
                    <a:pt x="10907033" y="1049127"/>
                    <a:pt x="11329893" y="1335798"/>
                    <a:pt x="11524632" y="1661816"/>
                  </a:cubicBezTo>
                  <a:lnTo>
                    <a:pt x="11624783" y="1833257"/>
                  </a:lnTo>
                  <a:lnTo>
                    <a:pt x="11852906" y="1836067"/>
                  </a:lnTo>
                  <a:cubicBezTo>
                    <a:pt x="11954101" y="1837121"/>
                    <a:pt x="12052165" y="1851613"/>
                    <a:pt x="12144607" y="1878209"/>
                  </a:cubicBezTo>
                  <a:lnTo>
                    <a:pt x="12191999" y="1894228"/>
                  </a:lnTo>
                  <a:lnTo>
                    <a:pt x="12191999" y="2735201"/>
                  </a:lnTo>
                  <a:lnTo>
                    <a:pt x="6452313" y="2735201"/>
                  </a:lnTo>
                  <a:lnTo>
                    <a:pt x="5172234" y="2735201"/>
                  </a:lnTo>
                  <a:lnTo>
                    <a:pt x="2657884" y="2735201"/>
                  </a:lnTo>
                  <a:lnTo>
                    <a:pt x="1235768" y="2735201"/>
                  </a:lnTo>
                  <a:lnTo>
                    <a:pt x="0" y="2735201"/>
                  </a:lnTo>
                  <a:lnTo>
                    <a:pt x="0" y="1746328"/>
                  </a:lnTo>
                  <a:lnTo>
                    <a:pt x="39705" y="1798250"/>
                  </a:lnTo>
                  <a:cubicBezTo>
                    <a:pt x="66106" y="1836365"/>
                    <a:pt x="77421" y="1834459"/>
                    <a:pt x="186799" y="1760135"/>
                  </a:cubicBezTo>
                  <a:cubicBezTo>
                    <a:pt x="360295" y="1641979"/>
                    <a:pt x="511160" y="1596242"/>
                    <a:pt x="729916" y="1594336"/>
                  </a:cubicBezTo>
                  <a:cubicBezTo>
                    <a:pt x="971301" y="1594336"/>
                    <a:pt x="1152340" y="1670566"/>
                    <a:pt x="1325836" y="1847799"/>
                  </a:cubicBezTo>
                  <a:cubicBezTo>
                    <a:pt x="1391840" y="1916882"/>
                    <a:pt x="1478470" y="2046264"/>
                    <a:pt x="1534160" y="2150335"/>
                  </a:cubicBezTo>
                  <a:lnTo>
                    <a:pt x="1544687" y="2171439"/>
                  </a:lnTo>
                  <a:lnTo>
                    <a:pt x="1545220" y="2170800"/>
                  </a:lnTo>
                  <a:cubicBezTo>
                    <a:pt x="1757752" y="1956629"/>
                    <a:pt x="2065617" y="1826598"/>
                    <a:pt x="2359487" y="1859106"/>
                  </a:cubicBezTo>
                  <a:cubicBezTo>
                    <a:pt x="2679667" y="1895288"/>
                    <a:pt x="2655038" y="1899811"/>
                    <a:pt x="2704296" y="1775434"/>
                  </a:cubicBezTo>
                  <a:cubicBezTo>
                    <a:pt x="2766988" y="1610351"/>
                    <a:pt x="2977456" y="1300538"/>
                    <a:pt x="3093885" y="1196514"/>
                  </a:cubicBezTo>
                  <a:cubicBezTo>
                    <a:pt x="3416303" y="909315"/>
                    <a:pt x="3779024" y="769108"/>
                    <a:pt x="4197720" y="769108"/>
                  </a:cubicBezTo>
                  <a:cubicBezTo>
                    <a:pt x="4643284" y="769108"/>
                    <a:pt x="4974659" y="895747"/>
                    <a:pt x="5288121" y="1189730"/>
                  </a:cubicBezTo>
                  <a:cubicBezTo>
                    <a:pt x="5431418" y="1323153"/>
                    <a:pt x="5548967" y="1475232"/>
                    <a:pt x="5636569" y="1639184"/>
                  </a:cubicBezTo>
                  <a:lnTo>
                    <a:pt x="5669040" y="1715253"/>
                  </a:lnTo>
                  <a:lnTo>
                    <a:pt x="5772236" y="1691376"/>
                  </a:lnTo>
                  <a:cubicBezTo>
                    <a:pt x="5883471" y="1672751"/>
                    <a:pt x="5995098" y="1675518"/>
                    <a:pt x="6094206" y="1703974"/>
                  </a:cubicBezTo>
                  <a:cubicBezTo>
                    <a:pt x="6216613" y="1737700"/>
                    <a:pt x="6227741" y="1734889"/>
                    <a:pt x="6275035" y="1642143"/>
                  </a:cubicBezTo>
                  <a:cubicBezTo>
                    <a:pt x="6344584" y="1507239"/>
                    <a:pt x="6553233" y="1327367"/>
                    <a:pt x="6742408" y="1240241"/>
                  </a:cubicBezTo>
                  <a:cubicBezTo>
                    <a:pt x="6862033" y="1186841"/>
                    <a:pt x="6973312" y="1167168"/>
                    <a:pt x="7184742" y="1169978"/>
                  </a:cubicBezTo>
                  <a:lnTo>
                    <a:pt x="7465723" y="1169978"/>
                  </a:lnTo>
                  <a:lnTo>
                    <a:pt x="7521362" y="1018211"/>
                  </a:lnTo>
                  <a:cubicBezTo>
                    <a:pt x="7599258" y="807424"/>
                    <a:pt x="7807906" y="501079"/>
                    <a:pt x="7958133" y="374606"/>
                  </a:cubicBezTo>
                  <a:cubicBezTo>
                    <a:pt x="8152872" y="208787"/>
                    <a:pt x="8458889" y="71072"/>
                    <a:pt x="8728742" y="20483"/>
                  </a:cubicBezTo>
                  <a:cubicBezTo>
                    <a:pt x="8804203" y="6782"/>
                    <a:pt x="8880881" y="107"/>
                    <a:pt x="8957869" y="2"/>
                  </a:cubicBezTo>
                  <a:close/>
                </a:path>
              </a:pathLst>
            </a:custGeom>
            <a:ln w="9525">
              <a:noFill/>
            </a:ln>
            <a:effectLst>
              <a:outerShdw blurRad="241300" dist="38100" dir="1440000" algn="tl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B6018669-1197-4EF4-84CF-D7459A5056D7}"/>
              </a:ext>
            </a:extLst>
          </p:cNvPr>
          <p:cNvGrpSpPr/>
          <p:nvPr/>
        </p:nvGrpSpPr>
        <p:grpSpPr>
          <a:xfrm>
            <a:off x="5655518" y="464484"/>
            <a:ext cx="1825738" cy="1746470"/>
            <a:chOff x="4455091" y="583785"/>
            <a:chExt cx="1825738" cy="1746470"/>
          </a:xfrm>
          <a:solidFill>
            <a:srgbClr val="2C8AC1"/>
          </a:solidFill>
          <a:effectLst/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F8296D2E-C62E-442A-B284-01EF22F485D3}"/>
                </a:ext>
              </a:extLst>
            </p:cNvPr>
            <p:cNvSpPr/>
            <p:nvPr/>
          </p:nvSpPr>
          <p:spPr>
            <a:xfrm>
              <a:off x="4504782" y="583785"/>
              <a:ext cx="1746470" cy="174647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88" name="Rectangle 287">
              <a:extLst>
                <a:ext uri="{FF2B5EF4-FFF2-40B4-BE49-F238E27FC236}">
                  <a16:creationId xmlns:a16="http://schemas.microsoft.com/office/drawing/2014/main" id="{6EB7ECE7-F63A-4C51-BE6A-13BC0E759F35}"/>
                </a:ext>
              </a:extLst>
            </p:cNvPr>
            <p:cNvSpPr/>
            <p:nvPr/>
          </p:nvSpPr>
          <p:spPr>
            <a:xfrm>
              <a:off x="5051025" y="692095"/>
              <a:ext cx="550151" cy="52322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/>
              <a:r>
                <a:rPr lang="en-IN" sz="2800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6F43371B-2E28-4347-9466-625BE13886BE}"/>
                </a:ext>
              </a:extLst>
            </p:cNvPr>
            <p:cNvSpPr/>
            <p:nvPr/>
          </p:nvSpPr>
          <p:spPr>
            <a:xfrm>
              <a:off x="4542853" y="1078754"/>
              <a:ext cx="164672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000" b="1" dirty="0">
                  <a:solidFill>
                    <a:schemeClr val="bg1"/>
                  </a:solidFill>
                </a:rPr>
                <a:t>目的地</a:t>
              </a:r>
              <a:endParaRPr lang="en-IN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id="{A4F5B4BD-EE99-4B0B-B3B2-AC792BC4DEDB}"/>
                </a:ext>
              </a:extLst>
            </p:cNvPr>
            <p:cNvSpPr/>
            <p:nvPr/>
          </p:nvSpPr>
          <p:spPr>
            <a:xfrm>
              <a:off x="4455091" y="1540924"/>
              <a:ext cx="1825738" cy="55399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ja-JP" altLang="en-US" sz="1200" dirty="0">
                  <a:solidFill>
                    <a:schemeClr val="bg1"/>
                  </a:solidFill>
                </a:rPr>
                <a:t>使用例として</a:t>
              </a:r>
              <a:endParaRPr lang="en-US" altLang="ja-JP" sz="1200" dirty="0">
                <a:solidFill>
                  <a:schemeClr val="bg1"/>
                </a:solidFill>
              </a:endParaRPr>
            </a:p>
            <a:p>
              <a:pPr algn="ctr"/>
              <a:r>
                <a:rPr lang="ja-JP" altLang="en-US" sz="1200" dirty="0">
                  <a:solidFill>
                    <a:schemeClr val="bg1"/>
                  </a:solidFill>
                </a:rPr>
                <a:t>ホテルのチェックイン</a:t>
              </a:r>
              <a:endParaRPr lang="en-US" altLang="ja-JP" sz="1200" dirty="0">
                <a:solidFill>
                  <a:schemeClr val="bg1"/>
                </a:solidFill>
              </a:endParaRPr>
            </a:p>
            <a:p>
              <a:pPr algn="ctr"/>
              <a:r>
                <a:rPr lang="ja-JP" altLang="en-US" sz="1200" dirty="0">
                  <a:solidFill>
                    <a:schemeClr val="bg1"/>
                  </a:solidFill>
                </a:rPr>
                <a:t>の時間</a:t>
              </a:r>
              <a:endParaRPr lang="en-I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E8E02D71-8469-41C1-9C0E-6742E8EF3231}"/>
              </a:ext>
            </a:extLst>
          </p:cNvPr>
          <p:cNvGrpSpPr/>
          <p:nvPr/>
        </p:nvGrpSpPr>
        <p:grpSpPr>
          <a:xfrm>
            <a:off x="3700316" y="1853762"/>
            <a:ext cx="1746470" cy="1746470"/>
            <a:chOff x="2411207" y="1780780"/>
            <a:chExt cx="1746470" cy="1746470"/>
          </a:xfrm>
          <a:solidFill>
            <a:srgbClr val="E97132"/>
          </a:solidFill>
          <a:effectLst/>
        </p:grpSpPr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0ACF8CE3-993E-4A4B-901E-4935D76BA0C2}"/>
                </a:ext>
              </a:extLst>
            </p:cNvPr>
            <p:cNvSpPr/>
            <p:nvPr/>
          </p:nvSpPr>
          <p:spPr>
            <a:xfrm>
              <a:off x="2411207" y="1780780"/>
              <a:ext cx="1746470" cy="174647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93" name="Rectangle 292">
              <a:extLst>
                <a:ext uri="{FF2B5EF4-FFF2-40B4-BE49-F238E27FC236}">
                  <a16:creationId xmlns:a16="http://schemas.microsoft.com/office/drawing/2014/main" id="{13425B1B-1F9F-4FF5-91D6-E73814B449D8}"/>
                </a:ext>
              </a:extLst>
            </p:cNvPr>
            <p:cNvSpPr/>
            <p:nvPr/>
          </p:nvSpPr>
          <p:spPr>
            <a:xfrm>
              <a:off x="2957450" y="1897480"/>
              <a:ext cx="550151" cy="52322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/>
              <a:r>
                <a:rPr lang="en-IN" sz="2800">
                  <a:solidFill>
                    <a:schemeClr val="bg1"/>
                  </a:solidFill>
                  <a:latin typeface="+mn-lt"/>
                </a:rPr>
                <a:t>02</a:t>
              </a:r>
              <a:endParaRPr lang="en-IN" sz="28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id="{5045B72C-7B35-4D52-8293-59306249D8F5}"/>
                </a:ext>
              </a:extLst>
            </p:cNvPr>
            <p:cNvSpPr/>
            <p:nvPr/>
          </p:nvSpPr>
          <p:spPr>
            <a:xfrm>
              <a:off x="2461078" y="2322031"/>
              <a:ext cx="1646729" cy="40011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000" b="1" dirty="0">
                  <a:solidFill>
                    <a:schemeClr val="bg1"/>
                  </a:solidFill>
                  <a:latin typeface="+mn-lt"/>
                </a:rPr>
                <a:t>昼ご飯</a:t>
              </a:r>
              <a:endParaRPr lang="en-IN" sz="20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id="{66CBE894-E707-4D0E-9DDC-72A1885C83D0}"/>
                </a:ext>
              </a:extLst>
            </p:cNvPr>
            <p:cNvSpPr/>
            <p:nvPr/>
          </p:nvSpPr>
          <p:spPr>
            <a:xfrm>
              <a:off x="2600321" y="2882843"/>
              <a:ext cx="1368242" cy="215444"/>
            </a:xfrm>
            <a:prstGeom prst="rect">
              <a:avLst/>
            </a:prstGeom>
            <a:grp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ja-JP" altLang="en-US" sz="1400" dirty="0">
                  <a:solidFill>
                    <a:schemeClr val="bg1"/>
                  </a:solidFill>
                  <a:latin typeface="+mn-lt"/>
                </a:rPr>
                <a:t>複数可能</a:t>
              </a:r>
              <a:endParaRPr lang="en-IN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FC8FE9CB-A058-4DA4-B308-1EAC0AFC8C4F}"/>
              </a:ext>
            </a:extLst>
          </p:cNvPr>
          <p:cNvGrpSpPr/>
          <p:nvPr/>
        </p:nvGrpSpPr>
        <p:grpSpPr>
          <a:xfrm>
            <a:off x="1923522" y="3402991"/>
            <a:ext cx="1746470" cy="1746470"/>
            <a:chOff x="1136993" y="3428625"/>
            <a:chExt cx="1746470" cy="1746470"/>
          </a:xfrm>
          <a:effectLst/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0D2976D-7914-487E-8583-AD675380765F}"/>
                </a:ext>
              </a:extLst>
            </p:cNvPr>
            <p:cNvSpPr/>
            <p:nvPr/>
          </p:nvSpPr>
          <p:spPr>
            <a:xfrm>
              <a:off x="1136993" y="3428625"/>
              <a:ext cx="1746470" cy="174647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id="{8C82D24B-AF98-45D2-BAB1-A6274FA92453}"/>
                </a:ext>
              </a:extLst>
            </p:cNvPr>
            <p:cNvSpPr/>
            <p:nvPr/>
          </p:nvSpPr>
          <p:spPr>
            <a:xfrm>
              <a:off x="1683236" y="3537730"/>
              <a:ext cx="55015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IN" sz="2800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  <p:sp>
          <p:nvSpPr>
            <p:cNvPr id="307" name="Rectangle 306">
              <a:extLst>
                <a:ext uri="{FF2B5EF4-FFF2-40B4-BE49-F238E27FC236}">
                  <a16:creationId xmlns:a16="http://schemas.microsoft.com/office/drawing/2014/main" id="{053C35A7-24C3-4177-A10B-34F7D3E9DE4E}"/>
                </a:ext>
              </a:extLst>
            </p:cNvPr>
            <p:cNvSpPr/>
            <p:nvPr/>
          </p:nvSpPr>
          <p:spPr>
            <a:xfrm>
              <a:off x="1186864" y="3962281"/>
              <a:ext cx="164672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000" b="1" dirty="0">
                  <a:solidFill>
                    <a:schemeClr val="bg1"/>
                  </a:solidFill>
                </a:rPr>
                <a:t>出発地点</a:t>
              </a:r>
              <a:endParaRPr lang="en-IN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08" name="Rectangle 307">
              <a:extLst>
                <a:ext uri="{FF2B5EF4-FFF2-40B4-BE49-F238E27FC236}">
                  <a16:creationId xmlns:a16="http://schemas.microsoft.com/office/drawing/2014/main" id="{120EE5F2-4AD1-4EF0-95C8-ED360104802F}"/>
                </a:ext>
              </a:extLst>
            </p:cNvPr>
            <p:cNvSpPr/>
            <p:nvPr/>
          </p:nvSpPr>
          <p:spPr>
            <a:xfrm>
              <a:off x="1336066" y="4481654"/>
              <a:ext cx="1368242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ja-JP" altLang="en-US" sz="1400" dirty="0">
                  <a:solidFill>
                    <a:schemeClr val="bg1"/>
                  </a:solidFill>
                </a:rPr>
                <a:t>集合場所など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5754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四角形: 角を丸くする 16">
            <a:extLst>
              <a:ext uri="{FF2B5EF4-FFF2-40B4-BE49-F238E27FC236}">
                <a16:creationId xmlns:a16="http://schemas.microsoft.com/office/drawing/2014/main" id="{FBF50FDE-9617-FE55-ABED-A4D7DF02865D}"/>
              </a:ext>
            </a:extLst>
          </p:cNvPr>
          <p:cNvSpPr/>
          <p:nvPr/>
        </p:nvSpPr>
        <p:spPr>
          <a:xfrm>
            <a:off x="3263469" y="1639795"/>
            <a:ext cx="2563541" cy="3493374"/>
          </a:xfrm>
          <a:prstGeom prst="round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DFD08886-64ED-D801-4375-0E359EA031F9}"/>
              </a:ext>
            </a:extLst>
          </p:cNvPr>
          <p:cNvSpPr txBox="1"/>
          <p:nvPr/>
        </p:nvSpPr>
        <p:spPr>
          <a:xfrm>
            <a:off x="3801746" y="1816117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000" b="1" dirty="0"/>
              <a:t>全体最適化</a:t>
            </a:r>
          </a:p>
        </p:txBody>
      </p:sp>
      <p:sp>
        <p:nvSpPr>
          <p:cNvPr id="21" name="四角形: 角を丸くする 20">
            <a:extLst>
              <a:ext uri="{FF2B5EF4-FFF2-40B4-BE49-F238E27FC236}">
                <a16:creationId xmlns:a16="http://schemas.microsoft.com/office/drawing/2014/main" id="{BC5A516A-3391-336B-B68F-EBE83A89BD41}"/>
              </a:ext>
            </a:extLst>
          </p:cNvPr>
          <p:cNvSpPr/>
          <p:nvPr/>
        </p:nvSpPr>
        <p:spPr>
          <a:xfrm>
            <a:off x="3364476" y="2287767"/>
            <a:ext cx="2360216" cy="2406128"/>
          </a:xfrm>
          <a:prstGeom prst="roundRect">
            <a:avLst/>
          </a:prstGeom>
          <a:solidFill>
            <a:srgbClr val="E6E6E6"/>
          </a:solidFill>
          <a:ln>
            <a:solidFill>
              <a:srgbClr val="15608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solidFill>
                  <a:srgbClr val="404040"/>
                </a:solidFill>
              </a:rPr>
              <a:t>左の工程を</a:t>
            </a:r>
            <a:endParaRPr lang="en-US" altLang="ja-JP" dirty="0">
              <a:solidFill>
                <a:srgbClr val="404040"/>
              </a:solidFill>
            </a:endParaRPr>
          </a:p>
          <a:p>
            <a:pPr algn="ctr"/>
            <a:r>
              <a:rPr kumimoji="1" lang="ja-JP" altLang="en-US" b="1" dirty="0">
                <a:solidFill>
                  <a:srgbClr val="404040"/>
                </a:solidFill>
              </a:rPr>
              <a:t>上：１グループ目</a:t>
            </a:r>
            <a:endParaRPr kumimoji="1" lang="en-US" altLang="ja-JP" b="1" dirty="0">
              <a:solidFill>
                <a:srgbClr val="404040"/>
              </a:solidFill>
            </a:endParaRPr>
          </a:p>
          <a:p>
            <a:pPr algn="ctr"/>
            <a:r>
              <a:rPr lang="ja-JP" altLang="en-US" b="1" dirty="0">
                <a:solidFill>
                  <a:srgbClr val="404040"/>
                </a:solidFill>
              </a:rPr>
              <a:t>下：２グループ目</a:t>
            </a:r>
            <a:endParaRPr lang="en-US" altLang="ja-JP" b="1" dirty="0">
              <a:solidFill>
                <a:srgbClr val="404040"/>
              </a:solidFill>
            </a:endParaRPr>
          </a:p>
          <a:p>
            <a:pPr algn="ctr"/>
            <a:r>
              <a:rPr kumimoji="1" lang="ja-JP" altLang="en-US" dirty="0">
                <a:solidFill>
                  <a:srgbClr val="404040"/>
                </a:solidFill>
              </a:rPr>
              <a:t>として全体に対し</a:t>
            </a:r>
            <a:endParaRPr kumimoji="1" lang="en-US" altLang="ja-JP" dirty="0">
              <a:solidFill>
                <a:srgbClr val="404040"/>
              </a:solidFill>
            </a:endParaRPr>
          </a:p>
          <a:p>
            <a:pPr algn="ctr"/>
            <a:r>
              <a:rPr lang="ja-JP" altLang="en-US" dirty="0">
                <a:solidFill>
                  <a:srgbClr val="404040"/>
                </a:solidFill>
              </a:rPr>
              <a:t>最大化問題に</a:t>
            </a:r>
            <a:endParaRPr lang="en-US" altLang="ja-JP" dirty="0">
              <a:solidFill>
                <a:srgbClr val="404040"/>
              </a:solidFill>
            </a:endParaRPr>
          </a:p>
          <a:p>
            <a:pPr algn="ctr"/>
            <a:r>
              <a:rPr lang="ja-JP" altLang="en-US" dirty="0">
                <a:solidFill>
                  <a:srgbClr val="404040"/>
                </a:solidFill>
              </a:rPr>
              <a:t>取り組む</a:t>
            </a:r>
            <a:endParaRPr kumimoji="1" lang="en-US" altLang="ja-JP" dirty="0">
              <a:solidFill>
                <a:schemeClr val="tx1"/>
              </a:solidFill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8F43B671-0562-5C9C-7383-F90FEF918620}"/>
              </a:ext>
            </a:extLst>
          </p:cNvPr>
          <p:cNvSpPr/>
          <p:nvPr/>
        </p:nvSpPr>
        <p:spPr>
          <a:xfrm>
            <a:off x="169821" y="1639795"/>
            <a:ext cx="2563541" cy="3493374"/>
          </a:xfrm>
          <a:prstGeom prst="round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8B002CD-D0AB-C998-B3E6-954309AA7427}"/>
              </a:ext>
            </a:extLst>
          </p:cNvPr>
          <p:cNvSpPr txBox="1"/>
          <p:nvPr/>
        </p:nvSpPr>
        <p:spPr>
          <a:xfrm>
            <a:off x="333336" y="1816117"/>
            <a:ext cx="2236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000" b="1" dirty="0"/>
              <a:t>単目的最適化</a:t>
            </a:r>
            <a:r>
              <a:rPr kumimoji="1" lang="en-US" altLang="ja-JP" sz="2000" b="1" dirty="0"/>
              <a:t>×</a:t>
            </a:r>
            <a:r>
              <a:rPr kumimoji="1" lang="ja-JP" altLang="en-US" sz="2000" b="1" dirty="0"/>
              <a:t>２</a:t>
            </a:r>
          </a:p>
        </p:txBody>
      </p:sp>
      <p:sp>
        <p:nvSpPr>
          <p:cNvPr id="15" name="四角形: 角を丸くする 14">
            <a:extLst>
              <a:ext uri="{FF2B5EF4-FFF2-40B4-BE49-F238E27FC236}">
                <a16:creationId xmlns:a16="http://schemas.microsoft.com/office/drawing/2014/main" id="{E0281664-A86F-D1F2-79FC-74FB8E18F56C}"/>
              </a:ext>
            </a:extLst>
          </p:cNvPr>
          <p:cNvSpPr/>
          <p:nvPr/>
        </p:nvSpPr>
        <p:spPr>
          <a:xfrm>
            <a:off x="266191" y="2287767"/>
            <a:ext cx="2360216" cy="1141232"/>
          </a:xfrm>
          <a:prstGeom prst="roundRect">
            <a:avLst/>
          </a:prstGeom>
          <a:solidFill>
            <a:srgbClr val="E6E6E6"/>
          </a:solidFill>
          <a:ln>
            <a:solidFill>
              <a:srgbClr val="15608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b="1" dirty="0">
                <a:solidFill>
                  <a:srgbClr val="E97132"/>
                </a:solidFill>
              </a:rPr>
              <a:t>昼ご飯</a:t>
            </a:r>
            <a:r>
              <a:rPr kumimoji="1" lang="ja-JP" altLang="en-US" dirty="0">
                <a:solidFill>
                  <a:schemeClr val="tx1"/>
                </a:solidFill>
              </a:rPr>
              <a:t>までの</a:t>
            </a:r>
            <a:endParaRPr kumimoji="1" lang="en-US" altLang="ja-JP" dirty="0">
              <a:solidFill>
                <a:schemeClr val="tx1"/>
              </a:solidFill>
            </a:endParaRPr>
          </a:p>
          <a:p>
            <a:pPr algn="ctr"/>
            <a:r>
              <a:rPr lang="ja-JP" altLang="en-US" dirty="0">
                <a:solidFill>
                  <a:schemeClr val="tx1"/>
                </a:solidFill>
              </a:rPr>
              <a:t>最大化問題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60C64380-8A36-142B-3CCD-C11A99102D09}"/>
              </a:ext>
            </a:extLst>
          </p:cNvPr>
          <p:cNvSpPr/>
          <p:nvPr/>
        </p:nvSpPr>
        <p:spPr>
          <a:xfrm>
            <a:off x="270828" y="3552663"/>
            <a:ext cx="2360216" cy="1141232"/>
          </a:xfrm>
          <a:prstGeom prst="roundRect">
            <a:avLst/>
          </a:prstGeom>
          <a:solidFill>
            <a:srgbClr val="E6E6E6"/>
          </a:solidFill>
          <a:ln>
            <a:solidFill>
              <a:srgbClr val="15608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b="1" dirty="0">
                <a:solidFill>
                  <a:srgbClr val="404040"/>
                </a:solidFill>
              </a:rPr>
              <a:t>いったところ以外</a:t>
            </a:r>
            <a:r>
              <a:rPr lang="ja-JP" altLang="en-US" dirty="0">
                <a:solidFill>
                  <a:schemeClr val="tx1"/>
                </a:solidFill>
              </a:rPr>
              <a:t>で</a:t>
            </a:r>
            <a:endParaRPr kumimoji="1" lang="en-US" altLang="ja-JP" dirty="0">
              <a:solidFill>
                <a:schemeClr val="tx1"/>
              </a:solidFill>
            </a:endParaRPr>
          </a:p>
          <a:p>
            <a:pPr algn="ctr"/>
            <a:r>
              <a:rPr kumimoji="1" lang="ja-JP" altLang="en-US" b="1" dirty="0">
                <a:solidFill>
                  <a:srgbClr val="156082"/>
                </a:solidFill>
              </a:rPr>
              <a:t>目的地</a:t>
            </a:r>
            <a:r>
              <a:rPr kumimoji="1" lang="ja-JP" altLang="en-US" dirty="0">
                <a:solidFill>
                  <a:schemeClr val="tx1"/>
                </a:solidFill>
              </a:rPr>
              <a:t>までの</a:t>
            </a:r>
            <a:endParaRPr kumimoji="1" lang="en-US" altLang="ja-JP" dirty="0">
              <a:solidFill>
                <a:schemeClr val="tx1"/>
              </a:solidFill>
            </a:endParaRPr>
          </a:p>
          <a:p>
            <a:pPr algn="ctr"/>
            <a:r>
              <a:rPr lang="ja-JP" altLang="en-US" dirty="0">
                <a:solidFill>
                  <a:schemeClr val="tx1"/>
                </a:solidFill>
              </a:rPr>
              <a:t>最大化問題</a:t>
            </a:r>
            <a:endParaRPr kumimoji="1" lang="en-US" altLang="ja-JP" dirty="0">
              <a:solidFill>
                <a:schemeClr val="tx1"/>
              </a:solidFill>
            </a:endParaRPr>
          </a:p>
        </p:txBody>
      </p:sp>
      <p:sp>
        <p:nvSpPr>
          <p:cNvPr id="522" name="Title 1">
            <a:extLst>
              <a:ext uri="{FF2B5EF4-FFF2-40B4-BE49-F238E27FC236}">
                <a16:creationId xmlns:a16="http://schemas.microsoft.com/office/drawing/2014/main" id="{0807BB20-28F3-4851-947F-E1DE74024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810" y="-90087"/>
            <a:ext cx="10515600" cy="1325563"/>
          </a:xfrm>
        </p:spPr>
        <p:txBody>
          <a:bodyPr/>
          <a:lstStyle/>
          <a:p>
            <a:r>
              <a:rPr lang="ja-JP" altLang="en-US" dirty="0"/>
              <a:t>システムの　</a:t>
            </a:r>
            <a:r>
              <a:rPr lang="ja-JP" altLang="en-US" sz="3600" dirty="0">
                <a:solidFill>
                  <a:srgbClr val="156082"/>
                </a:solidFill>
              </a:rPr>
              <a:t>実装方法</a:t>
            </a:r>
            <a:endParaRPr lang="en-IN" dirty="0">
              <a:solidFill>
                <a:srgbClr val="156082"/>
              </a:solidFill>
            </a:endParaRPr>
          </a:p>
        </p:txBody>
      </p:sp>
      <p:sp>
        <p:nvSpPr>
          <p:cNvPr id="523" name="Text Placeholder 2">
            <a:extLst>
              <a:ext uri="{FF2B5EF4-FFF2-40B4-BE49-F238E27FC236}">
                <a16:creationId xmlns:a16="http://schemas.microsoft.com/office/drawing/2014/main" id="{82BC769A-CB95-44A3-8A9C-6D34296053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24896"/>
            <a:ext cx="10820400" cy="246221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ja-JP" altLang="en-US" dirty="0"/>
              <a:t>目的地までのプラン最適化問題</a:t>
            </a:r>
            <a:endParaRPr lang="en-IN" dirty="0"/>
          </a:p>
        </p:txBody>
      </p:sp>
      <p:grpSp>
        <p:nvGrpSpPr>
          <p:cNvPr id="524" name="Group 523">
            <a:extLst>
              <a:ext uri="{FF2B5EF4-FFF2-40B4-BE49-F238E27FC236}">
                <a16:creationId xmlns:a16="http://schemas.microsoft.com/office/drawing/2014/main" id="{26F185CC-70E3-4834-8A3A-31E3C080C710}"/>
              </a:ext>
            </a:extLst>
          </p:cNvPr>
          <p:cNvGrpSpPr/>
          <p:nvPr/>
        </p:nvGrpSpPr>
        <p:grpSpPr>
          <a:xfrm>
            <a:off x="6366398" y="1335313"/>
            <a:ext cx="6071714" cy="4863619"/>
            <a:chOff x="6120960" y="1333500"/>
            <a:chExt cx="5270940" cy="3976553"/>
          </a:xfrm>
        </p:grpSpPr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964EBEAF-D2AB-4312-B506-855C1B554AA1}"/>
                </a:ext>
              </a:extLst>
            </p:cNvPr>
            <p:cNvGrpSpPr/>
            <p:nvPr/>
          </p:nvGrpSpPr>
          <p:grpSpPr>
            <a:xfrm>
              <a:off x="6132357" y="1333500"/>
              <a:ext cx="5250340" cy="3972061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545D7EE6-B447-49F7-9DFF-1F03F612BA2C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D3F6ECF3-18BE-40A0-B6CC-2E89DCD1C5C1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id="{C186B60B-C496-4C3A-B3F0-1A78444E3B8F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77E786F1-DF2B-4EEE-A9D3-84597398E2F0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B3FC957E-AA5B-4AA5-B59C-25AD4C01E39C}"/>
                </a:ext>
              </a:extLst>
            </p:cNvPr>
            <p:cNvSpPr/>
            <p:nvPr/>
          </p:nvSpPr>
          <p:spPr>
            <a:xfrm>
              <a:off x="6120960" y="2395787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73AF51">
                <a:alpha val="77647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688AF5A-C0F0-4F00-A6F2-C1483A884702}"/>
              </a:ext>
            </a:extLst>
          </p:cNvPr>
          <p:cNvGrpSpPr/>
          <p:nvPr/>
        </p:nvGrpSpPr>
        <p:grpSpPr>
          <a:xfrm>
            <a:off x="5379415" y="2881447"/>
            <a:ext cx="5270940" cy="3976553"/>
            <a:chOff x="5193218" y="2184277"/>
            <a:chExt cx="5270940" cy="3976553"/>
          </a:xfrm>
        </p:grpSpPr>
        <p:grpSp>
          <p:nvGrpSpPr>
            <p:cNvPr id="532" name="Group 531">
              <a:extLst>
                <a:ext uri="{FF2B5EF4-FFF2-40B4-BE49-F238E27FC236}">
                  <a16:creationId xmlns:a16="http://schemas.microsoft.com/office/drawing/2014/main" id="{7EA3EB79-CB31-46F6-9CCE-B5D8ADECDBDE}"/>
                </a:ext>
              </a:extLst>
            </p:cNvPr>
            <p:cNvGrpSpPr/>
            <p:nvPr/>
          </p:nvGrpSpPr>
          <p:grpSpPr>
            <a:xfrm>
              <a:off x="5204615" y="2184277"/>
              <a:ext cx="5250340" cy="3972062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34" name="Freeform: Shape 533">
                <a:extLst>
                  <a:ext uri="{FF2B5EF4-FFF2-40B4-BE49-F238E27FC236}">
                    <a16:creationId xmlns:a16="http://schemas.microsoft.com/office/drawing/2014/main" id="{E0266CA8-1D63-4F85-ACA8-95531A36B99C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5" name="Freeform: Shape 534">
                <a:extLst>
                  <a:ext uri="{FF2B5EF4-FFF2-40B4-BE49-F238E27FC236}">
                    <a16:creationId xmlns:a16="http://schemas.microsoft.com/office/drawing/2014/main" id="{45093B62-7F1C-4365-A63B-BFD018B53733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6" name="Freeform: Shape 535">
                <a:extLst>
                  <a:ext uri="{FF2B5EF4-FFF2-40B4-BE49-F238E27FC236}">
                    <a16:creationId xmlns:a16="http://schemas.microsoft.com/office/drawing/2014/main" id="{869FB1C4-0266-4C62-A8D5-17CAB1391A92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7" name="Freeform: Shape 536">
                <a:extLst>
                  <a:ext uri="{FF2B5EF4-FFF2-40B4-BE49-F238E27FC236}">
                    <a16:creationId xmlns:a16="http://schemas.microsoft.com/office/drawing/2014/main" id="{67CA104B-41B0-45ED-A5D6-4A8A110A18CA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D69199D3-FE4F-4A87-99F3-6D0D5BC515E8}"/>
                </a:ext>
              </a:extLst>
            </p:cNvPr>
            <p:cNvSpPr/>
            <p:nvPr/>
          </p:nvSpPr>
          <p:spPr>
            <a:xfrm>
              <a:off x="5193218" y="3246564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5E9042">
                <a:alpha val="77647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38" name="Group 537">
            <a:extLst>
              <a:ext uri="{FF2B5EF4-FFF2-40B4-BE49-F238E27FC236}">
                <a16:creationId xmlns:a16="http://schemas.microsoft.com/office/drawing/2014/main" id="{055F2BDE-8594-46F2-B963-85C9FD683A7C}"/>
              </a:ext>
            </a:extLst>
          </p:cNvPr>
          <p:cNvGrpSpPr/>
          <p:nvPr/>
        </p:nvGrpSpPr>
        <p:grpSpPr>
          <a:xfrm>
            <a:off x="4879667" y="3622074"/>
            <a:ext cx="4289236" cy="3235926"/>
            <a:chOff x="5193218" y="2184277"/>
            <a:chExt cx="5270940" cy="3976553"/>
          </a:xfrm>
        </p:grpSpPr>
        <p:grpSp>
          <p:nvGrpSpPr>
            <p:cNvPr id="539" name="Group 538">
              <a:extLst>
                <a:ext uri="{FF2B5EF4-FFF2-40B4-BE49-F238E27FC236}">
                  <a16:creationId xmlns:a16="http://schemas.microsoft.com/office/drawing/2014/main" id="{2072E37B-53F2-4A34-8BA7-39B254E7BC9B}"/>
                </a:ext>
              </a:extLst>
            </p:cNvPr>
            <p:cNvGrpSpPr/>
            <p:nvPr/>
          </p:nvGrpSpPr>
          <p:grpSpPr>
            <a:xfrm>
              <a:off x="5204615" y="2184277"/>
              <a:ext cx="5250340" cy="3972062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41" name="Freeform: Shape 540">
                <a:extLst>
                  <a:ext uri="{FF2B5EF4-FFF2-40B4-BE49-F238E27FC236}">
                    <a16:creationId xmlns:a16="http://schemas.microsoft.com/office/drawing/2014/main" id="{C265C260-9FF9-447D-AED0-9C165C0F4EC6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2" name="Freeform: Shape 541">
                <a:extLst>
                  <a:ext uri="{FF2B5EF4-FFF2-40B4-BE49-F238E27FC236}">
                    <a16:creationId xmlns:a16="http://schemas.microsoft.com/office/drawing/2014/main" id="{37D12856-0B90-4FA7-B810-4337A269A55F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3" name="Freeform: Shape 542">
                <a:extLst>
                  <a:ext uri="{FF2B5EF4-FFF2-40B4-BE49-F238E27FC236}">
                    <a16:creationId xmlns:a16="http://schemas.microsoft.com/office/drawing/2014/main" id="{D6DD3657-A404-440E-9FCB-F335B95CED3E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4" name="Freeform: Shape 543">
                <a:extLst>
                  <a:ext uri="{FF2B5EF4-FFF2-40B4-BE49-F238E27FC236}">
                    <a16:creationId xmlns:a16="http://schemas.microsoft.com/office/drawing/2014/main" id="{C47DD0A8-E120-4AC1-81A1-63891582593B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97313148-89BA-4D66-B844-908BC0A78592}"/>
                </a:ext>
              </a:extLst>
            </p:cNvPr>
            <p:cNvSpPr/>
            <p:nvPr/>
          </p:nvSpPr>
          <p:spPr>
            <a:xfrm>
              <a:off x="5193218" y="3246564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5E9042">
                <a:alpha val="78000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240B02B-5B9B-4423-B6A6-AD370F2605E8}"/>
              </a:ext>
            </a:extLst>
          </p:cNvPr>
          <p:cNvCxnSpPr>
            <a:cxnSpLocks/>
          </p:cNvCxnSpPr>
          <p:nvPr/>
        </p:nvCxnSpPr>
        <p:spPr>
          <a:xfrm flipH="1" flipV="1">
            <a:off x="9600836" y="4486512"/>
            <a:ext cx="2475003" cy="1606493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B3DB520-3ED2-4C70-AA82-61C0DCEDAA31}"/>
              </a:ext>
            </a:extLst>
          </p:cNvPr>
          <p:cNvCxnSpPr>
            <a:cxnSpLocks/>
          </p:cNvCxnSpPr>
          <p:nvPr/>
        </p:nvCxnSpPr>
        <p:spPr>
          <a:xfrm flipH="1">
            <a:off x="7144989" y="4506638"/>
            <a:ext cx="1262663" cy="681631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41B0FA2-8640-46C2-8EEF-08A3AD2BC75B}"/>
              </a:ext>
            </a:extLst>
          </p:cNvPr>
          <p:cNvCxnSpPr>
            <a:cxnSpLocks/>
            <a:stCxn id="521" idx="3"/>
          </p:cNvCxnSpPr>
          <p:nvPr/>
        </p:nvCxnSpPr>
        <p:spPr>
          <a:xfrm>
            <a:off x="9326068" y="1415707"/>
            <a:ext cx="1087503" cy="2206367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20EE7300-1920-4D9C-A57E-45AB462C9AD0}"/>
              </a:ext>
            </a:extLst>
          </p:cNvPr>
          <p:cNvSpPr/>
          <p:nvPr/>
        </p:nvSpPr>
        <p:spPr>
          <a:xfrm>
            <a:off x="10220201" y="3433037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F23C1D0-441F-4DB2-ACF2-E2DD29D0057B}"/>
              </a:ext>
            </a:extLst>
          </p:cNvPr>
          <p:cNvSpPr/>
          <p:nvPr/>
        </p:nvSpPr>
        <p:spPr>
          <a:xfrm>
            <a:off x="9458638" y="4331573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2" name="Oval 58">
            <a:extLst>
              <a:ext uri="{FF2B5EF4-FFF2-40B4-BE49-F238E27FC236}">
                <a16:creationId xmlns:a16="http://schemas.microsoft.com/office/drawing/2014/main" id="{A0411A15-F4CF-FABB-058E-36F4216B068C}"/>
              </a:ext>
            </a:extLst>
          </p:cNvPr>
          <p:cNvSpPr/>
          <p:nvPr/>
        </p:nvSpPr>
        <p:spPr>
          <a:xfrm>
            <a:off x="8372859" y="4336757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6" name="Oval 58">
            <a:extLst>
              <a:ext uri="{FF2B5EF4-FFF2-40B4-BE49-F238E27FC236}">
                <a16:creationId xmlns:a16="http://schemas.microsoft.com/office/drawing/2014/main" id="{7930B0DA-8F44-D19A-E1C1-8F0D252BC7C7}"/>
              </a:ext>
            </a:extLst>
          </p:cNvPr>
          <p:cNvSpPr/>
          <p:nvPr/>
        </p:nvSpPr>
        <p:spPr>
          <a:xfrm>
            <a:off x="8766623" y="3279555"/>
            <a:ext cx="298889" cy="298889"/>
          </a:xfrm>
          <a:prstGeom prst="ellipse">
            <a:avLst/>
          </a:prstGeom>
          <a:solidFill>
            <a:srgbClr val="ED7D3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7" name="Oval 58">
            <a:extLst>
              <a:ext uri="{FF2B5EF4-FFF2-40B4-BE49-F238E27FC236}">
                <a16:creationId xmlns:a16="http://schemas.microsoft.com/office/drawing/2014/main" id="{F0AB69BC-760C-1F2C-B7EC-322EDF393F0B}"/>
              </a:ext>
            </a:extLst>
          </p:cNvPr>
          <p:cNvSpPr/>
          <p:nvPr/>
        </p:nvSpPr>
        <p:spPr>
          <a:xfrm>
            <a:off x="6919986" y="4203879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8" name="Oval 58">
            <a:extLst>
              <a:ext uri="{FF2B5EF4-FFF2-40B4-BE49-F238E27FC236}">
                <a16:creationId xmlns:a16="http://schemas.microsoft.com/office/drawing/2014/main" id="{63954E68-8685-80FC-BC0C-9CDBD058B160}"/>
              </a:ext>
            </a:extLst>
          </p:cNvPr>
          <p:cNvSpPr/>
          <p:nvPr/>
        </p:nvSpPr>
        <p:spPr>
          <a:xfrm>
            <a:off x="7795279" y="3775801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cxnSp>
        <p:nvCxnSpPr>
          <p:cNvPr id="19" name="Straight Connector 50">
            <a:extLst>
              <a:ext uri="{FF2B5EF4-FFF2-40B4-BE49-F238E27FC236}">
                <a16:creationId xmlns:a16="http://schemas.microsoft.com/office/drawing/2014/main" id="{ECC7D80F-8E5A-FD10-B335-D86D4C278028}"/>
              </a:ext>
            </a:extLst>
          </p:cNvPr>
          <p:cNvCxnSpPr>
            <a:cxnSpLocks/>
          </p:cNvCxnSpPr>
          <p:nvPr/>
        </p:nvCxnSpPr>
        <p:spPr>
          <a:xfrm flipH="1">
            <a:off x="7159285" y="3924684"/>
            <a:ext cx="787952" cy="1147954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B246B40E-F8BF-B34E-C957-440D63EF24BF}"/>
              </a:ext>
            </a:extLst>
          </p:cNvPr>
          <p:cNvCxnSpPr>
            <a:cxnSpLocks/>
            <a:stCxn id="59" idx="2"/>
            <a:endCxn id="2" idx="6"/>
          </p:cNvCxnSpPr>
          <p:nvPr/>
        </p:nvCxnSpPr>
        <p:spPr>
          <a:xfrm flipH="1">
            <a:off x="8671748" y="4481018"/>
            <a:ext cx="786890" cy="5184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58">
            <a:extLst>
              <a:ext uri="{FF2B5EF4-FFF2-40B4-BE49-F238E27FC236}">
                <a16:creationId xmlns:a16="http://schemas.microsoft.com/office/drawing/2014/main" id="{FFDFE4A2-E243-65B7-6637-927D214FB9DE}"/>
              </a:ext>
            </a:extLst>
          </p:cNvPr>
          <p:cNvSpPr/>
          <p:nvPr/>
        </p:nvSpPr>
        <p:spPr>
          <a:xfrm>
            <a:off x="6982622" y="5029120"/>
            <a:ext cx="298889" cy="298889"/>
          </a:xfrm>
          <a:prstGeom prst="ellipse">
            <a:avLst/>
          </a:prstGeom>
          <a:solidFill>
            <a:srgbClr val="ED7D3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cxnSp>
        <p:nvCxnSpPr>
          <p:cNvPr id="22" name="Straight Connector 50">
            <a:extLst>
              <a:ext uri="{FF2B5EF4-FFF2-40B4-BE49-F238E27FC236}">
                <a16:creationId xmlns:a16="http://schemas.microsoft.com/office/drawing/2014/main" id="{E763C8A5-B445-F9FE-D9D7-99C0AC40504F}"/>
              </a:ext>
            </a:extLst>
          </p:cNvPr>
          <p:cNvCxnSpPr>
            <a:cxnSpLocks/>
            <a:endCxn id="8" idx="6"/>
          </p:cNvCxnSpPr>
          <p:nvPr/>
        </p:nvCxnSpPr>
        <p:spPr>
          <a:xfrm flipH="1">
            <a:off x="8094168" y="3599687"/>
            <a:ext cx="2141820" cy="325559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10">
            <a:extLst>
              <a:ext uri="{FF2B5EF4-FFF2-40B4-BE49-F238E27FC236}">
                <a16:creationId xmlns:a16="http://schemas.microsoft.com/office/drawing/2014/main" id="{F3B460BB-4EB8-40B7-5AF1-CD2B345A15D3}"/>
              </a:ext>
            </a:extLst>
          </p:cNvPr>
          <p:cNvSpPr/>
          <p:nvPr/>
        </p:nvSpPr>
        <p:spPr>
          <a:xfrm>
            <a:off x="9273267" y="1340906"/>
            <a:ext cx="298889" cy="298889"/>
          </a:xfrm>
          <a:prstGeom prst="ellipse">
            <a:avLst/>
          </a:prstGeom>
          <a:solidFill>
            <a:srgbClr val="2C8A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grpSp>
        <p:nvGrpSpPr>
          <p:cNvPr id="519" name="Group 518">
            <a:extLst>
              <a:ext uri="{FF2B5EF4-FFF2-40B4-BE49-F238E27FC236}">
                <a16:creationId xmlns:a16="http://schemas.microsoft.com/office/drawing/2014/main" id="{C4EDC8C0-D0E9-4775-97EB-497B071F9319}"/>
              </a:ext>
            </a:extLst>
          </p:cNvPr>
          <p:cNvGrpSpPr/>
          <p:nvPr/>
        </p:nvGrpSpPr>
        <p:grpSpPr>
          <a:xfrm>
            <a:off x="9302460" y="550488"/>
            <a:ext cx="411883" cy="990865"/>
            <a:chOff x="9053309" y="399730"/>
            <a:chExt cx="411883" cy="990865"/>
          </a:xfrm>
        </p:grpSpPr>
        <p:sp>
          <p:nvSpPr>
            <p:cNvPr id="520" name="Freeform 9">
              <a:extLst>
                <a:ext uri="{FF2B5EF4-FFF2-40B4-BE49-F238E27FC236}">
                  <a16:creationId xmlns:a16="http://schemas.microsoft.com/office/drawing/2014/main" id="{5B6F9A9E-3630-4AAB-91CD-99C522A2E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2942" y="399730"/>
              <a:ext cx="392250" cy="364890"/>
            </a:xfrm>
            <a:custGeom>
              <a:avLst/>
              <a:gdLst>
                <a:gd name="T0" fmla="*/ 47 w 1913"/>
                <a:gd name="T1" fmla="*/ 1746 h 1762"/>
                <a:gd name="T2" fmla="*/ 0 w 1913"/>
                <a:gd name="T3" fmla="*/ 1717 h 1762"/>
                <a:gd name="T4" fmla="*/ 757 w 1913"/>
                <a:gd name="T5" fmla="*/ 8 h 1762"/>
                <a:gd name="T6" fmla="*/ 859 w 1913"/>
                <a:gd name="T7" fmla="*/ 52 h 1762"/>
                <a:gd name="T8" fmla="*/ 844 w 1913"/>
                <a:gd name="T9" fmla="*/ 106 h 1762"/>
                <a:gd name="T10" fmla="*/ 828 w 1913"/>
                <a:gd name="T11" fmla="*/ 151 h 1762"/>
                <a:gd name="T12" fmla="*/ 901 w 1913"/>
                <a:gd name="T13" fmla="*/ 142 h 1762"/>
                <a:gd name="T14" fmla="*/ 1072 w 1913"/>
                <a:gd name="T15" fmla="*/ 154 h 1762"/>
                <a:gd name="T16" fmla="*/ 1482 w 1913"/>
                <a:gd name="T17" fmla="*/ 412 h 1762"/>
                <a:gd name="T18" fmla="*/ 1513 w 1913"/>
                <a:gd name="T19" fmla="*/ 465 h 1762"/>
                <a:gd name="T20" fmla="*/ 1475 w 1913"/>
                <a:gd name="T21" fmla="*/ 550 h 1762"/>
                <a:gd name="T22" fmla="*/ 1458 w 1913"/>
                <a:gd name="T23" fmla="*/ 659 h 1762"/>
                <a:gd name="T24" fmla="*/ 1864 w 1913"/>
                <a:gd name="T25" fmla="*/ 804 h 1762"/>
                <a:gd name="T26" fmla="*/ 1913 w 1913"/>
                <a:gd name="T27" fmla="*/ 805 h 1762"/>
                <a:gd name="T28" fmla="*/ 1548 w 1913"/>
                <a:gd name="T29" fmla="*/ 1596 h 1762"/>
                <a:gd name="T30" fmla="*/ 1079 w 1913"/>
                <a:gd name="T31" fmla="*/ 1479 h 1762"/>
                <a:gd name="T32" fmla="*/ 1008 w 1913"/>
                <a:gd name="T33" fmla="*/ 1382 h 1762"/>
                <a:gd name="T34" fmla="*/ 1029 w 1913"/>
                <a:gd name="T35" fmla="*/ 1253 h 1762"/>
                <a:gd name="T36" fmla="*/ 1067 w 1913"/>
                <a:gd name="T37" fmla="*/ 1166 h 1762"/>
                <a:gd name="T38" fmla="*/ 1037 w 1913"/>
                <a:gd name="T39" fmla="*/ 1143 h 1762"/>
                <a:gd name="T40" fmla="*/ 675 w 1913"/>
                <a:gd name="T41" fmla="*/ 975 h 1762"/>
                <a:gd name="T42" fmla="*/ 465 w 1913"/>
                <a:gd name="T43" fmla="*/ 972 h 1762"/>
                <a:gd name="T44" fmla="*/ 281 w 1913"/>
                <a:gd name="T45" fmla="*/ 1369 h 1762"/>
                <a:gd name="T46" fmla="*/ 102 w 1913"/>
                <a:gd name="T47" fmla="*/ 1757 h 1762"/>
                <a:gd name="T48" fmla="*/ 47 w 1913"/>
                <a:gd name="T49" fmla="*/ 1746 h 1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13" h="1762">
                  <a:moveTo>
                    <a:pt x="47" y="1746"/>
                  </a:moveTo>
                  <a:cubicBezTo>
                    <a:pt x="21" y="1736"/>
                    <a:pt x="0" y="1723"/>
                    <a:pt x="0" y="1717"/>
                  </a:cubicBezTo>
                  <a:cubicBezTo>
                    <a:pt x="0" y="1707"/>
                    <a:pt x="748" y="18"/>
                    <a:pt x="757" y="8"/>
                  </a:cubicBezTo>
                  <a:cubicBezTo>
                    <a:pt x="764" y="0"/>
                    <a:pt x="853" y="38"/>
                    <a:pt x="859" y="52"/>
                  </a:cubicBezTo>
                  <a:cubicBezTo>
                    <a:pt x="862" y="60"/>
                    <a:pt x="855" y="84"/>
                    <a:pt x="844" y="106"/>
                  </a:cubicBezTo>
                  <a:cubicBezTo>
                    <a:pt x="832" y="128"/>
                    <a:pt x="825" y="148"/>
                    <a:pt x="828" y="151"/>
                  </a:cubicBezTo>
                  <a:cubicBezTo>
                    <a:pt x="831" y="154"/>
                    <a:pt x="864" y="150"/>
                    <a:pt x="901" y="142"/>
                  </a:cubicBezTo>
                  <a:cubicBezTo>
                    <a:pt x="959" y="130"/>
                    <a:pt x="983" y="131"/>
                    <a:pt x="1072" y="154"/>
                  </a:cubicBezTo>
                  <a:cubicBezTo>
                    <a:pt x="1264" y="203"/>
                    <a:pt x="1414" y="297"/>
                    <a:pt x="1482" y="412"/>
                  </a:cubicBezTo>
                  <a:lnTo>
                    <a:pt x="1513" y="465"/>
                  </a:lnTo>
                  <a:lnTo>
                    <a:pt x="1475" y="550"/>
                  </a:lnTo>
                  <a:cubicBezTo>
                    <a:pt x="1439" y="631"/>
                    <a:pt x="1438" y="636"/>
                    <a:pt x="1458" y="659"/>
                  </a:cubicBezTo>
                  <a:cubicBezTo>
                    <a:pt x="1516" y="722"/>
                    <a:pt x="1769" y="813"/>
                    <a:pt x="1864" y="804"/>
                  </a:cubicBezTo>
                  <a:cubicBezTo>
                    <a:pt x="1891" y="801"/>
                    <a:pt x="1913" y="802"/>
                    <a:pt x="1913" y="805"/>
                  </a:cubicBezTo>
                  <a:cubicBezTo>
                    <a:pt x="1913" y="829"/>
                    <a:pt x="1567" y="1580"/>
                    <a:pt x="1548" y="1596"/>
                  </a:cubicBezTo>
                  <a:cubicBezTo>
                    <a:pt x="1460" y="1672"/>
                    <a:pt x="1204" y="1608"/>
                    <a:pt x="1079" y="1479"/>
                  </a:cubicBezTo>
                  <a:cubicBezTo>
                    <a:pt x="1050" y="1449"/>
                    <a:pt x="1018" y="1406"/>
                    <a:pt x="1008" y="1382"/>
                  </a:cubicBezTo>
                  <a:cubicBezTo>
                    <a:pt x="992" y="1342"/>
                    <a:pt x="993" y="1335"/>
                    <a:pt x="1029" y="1253"/>
                  </a:cubicBezTo>
                  <a:lnTo>
                    <a:pt x="1067" y="1166"/>
                  </a:lnTo>
                  <a:lnTo>
                    <a:pt x="1037" y="1143"/>
                  </a:lnTo>
                  <a:cubicBezTo>
                    <a:pt x="978" y="1097"/>
                    <a:pt x="755" y="994"/>
                    <a:pt x="675" y="975"/>
                  </a:cubicBezTo>
                  <a:cubicBezTo>
                    <a:pt x="575" y="952"/>
                    <a:pt x="483" y="951"/>
                    <a:pt x="465" y="972"/>
                  </a:cubicBezTo>
                  <a:cubicBezTo>
                    <a:pt x="458" y="981"/>
                    <a:pt x="375" y="1160"/>
                    <a:pt x="281" y="1369"/>
                  </a:cubicBezTo>
                  <a:cubicBezTo>
                    <a:pt x="188" y="1579"/>
                    <a:pt x="107" y="1753"/>
                    <a:pt x="102" y="1757"/>
                  </a:cubicBezTo>
                  <a:cubicBezTo>
                    <a:pt x="98" y="1762"/>
                    <a:pt x="73" y="1757"/>
                    <a:pt x="47" y="17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21" name="Freeform 13">
              <a:extLst>
                <a:ext uri="{FF2B5EF4-FFF2-40B4-BE49-F238E27FC236}">
                  <a16:creationId xmlns:a16="http://schemas.microsoft.com/office/drawing/2014/main" id="{396DDA30-B49F-4DEE-B4CF-B80C94AC1D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53309" y="694347"/>
              <a:ext cx="300998" cy="696248"/>
            </a:xfrm>
            <a:custGeom>
              <a:avLst/>
              <a:gdLst>
                <a:gd name="T0" fmla="*/ 386 w 3366"/>
                <a:gd name="T1" fmla="*/ 7638 h 7708"/>
                <a:gd name="T2" fmla="*/ 277 w 3366"/>
                <a:gd name="T3" fmla="*/ 7581 h 7708"/>
                <a:gd name="T4" fmla="*/ 162 w 3366"/>
                <a:gd name="T5" fmla="*/ 7370 h 7708"/>
                <a:gd name="T6" fmla="*/ 264 w 3366"/>
                <a:gd name="T7" fmla="*/ 6317 h 7708"/>
                <a:gd name="T8" fmla="*/ 585 w 3366"/>
                <a:gd name="T9" fmla="*/ 4817 h 7708"/>
                <a:gd name="T10" fmla="*/ 807 w 3366"/>
                <a:gd name="T11" fmla="*/ 4210 h 7708"/>
                <a:gd name="T12" fmla="*/ 864 w 3366"/>
                <a:gd name="T13" fmla="*/ 3129 h 7708"/>
                <a:gd name="T14" fmla="*/ 864 w 3366"/>
                <a:gd name="T15" fmla="*/ 2667 h 7708"/>
                <a:gd name="T16" fmla="*/ 774 w 3366"/>
                <a:gd name="T17" fmla="*/ 2517 h 7708"/>
                <a:gd name="T18" fmla="*/ 50 w 3366"/>
                <a:gd name="T19" fmla="*/ 611 h 7708"/>
                <a:gd name="T20" fmla="*/ 210 w 3366"/>
                <a:gd name="T21" fmla="*/ 110 h 7708"/>
                <a:gd name="T22" fmla="*/ 688 w 3366"/>
                <a:gd name="T23" fmla="*/ 150 h 7708"/>
                <a:gd name="T24" fmla="*/ 806 w 3366"/>
                <a:gd name="T25" fmla="*/ 504 h 7708"/>
                <a:gd name="T26" fmla="*/ 1242 w 3366"/>
                <a:gd name="T27" fmla="*/ 1773 h 7708"/>
                <a:gd name="T28" fmla="*/ 1315 w 3366"/>
                <a:gd name="T29" fmla="*/ 1921 h 7708"/>
                <a:gd name="T30" fmla="*/ 1406 w 3366"/>
                <a:gd name="T31" fmla="*/ 1905 h 7708"/>
                <a:gd name="T32" fmla="*/ 1922 w 3366"/>
                <a:gd name="T33" fmla="*/ 1963 h 7708"/>
                <a:gd name="T34" fmla="*/ 2193 w 3366"/>
                <a:gd name="T35" fmla="*/ 2208 h 7708"/>
                <a:gd name="T36" fmla="*/ 2285 w 3366"/>
                <a:gd name="T37" fmla="*/ 2283 h 7708"/>
                <a:gd name="T38" fmla="*/ 2397 w 3366"/>
                <a:gd name="T39" fmla="*/ 2349 h 7708"/>
                <a:gd name="T40" fmla="*/ 2463 w 3366"/>
                <a:gd name="T41" fmla="*/ 2398 h 7708"/>
                <a:gd name="T42" fmla="*/ 2470 w 3366"/>
                <a:gd name="T43" fmla="*/ 2366 h 7708"/>
                <a:gd name="T44" fmla="*/ 2676 w 3366"/>
                <a:gd name="T45" fmla="*/ 2097 h 7708"/>
                <a:gd name="T46" fmla="*/ 2854 w 3366"/>
                <a:gd name="T47" fmla="*/ 2056 h 7708"/>
                <a:gd name="T48" fmla="*/ 3177 w 3366"/>
                <a:gd name="T49" fmla="*/ 2237 h 7708"/>
                <a:gd name="T50" fmla="*/ 3338 w 3366"/>
                <a:gd name="T51" fmla="*/ 3114 h 7708"/>
                <a:gd name="T52" fmla="*/ 3356 w 3366"/>
                <a:gd name="T53" fmla="*/ 3470 h 7708"/>
                <a:gd name="T54" fmla="*/ 3105 w 3366"/>
                <a:gd name="T55" fmla="*/ 3780 h 7708"/>
                <a:gd name="T56" fmla="*/ 2829 w 3366"/>
                <a:gd name="T57" fmla="*/ 3762 h 7708"/>
                <a:gd name="T58" fmla="*/ 2560 w 3366"/>
                <a:gd name="T59" fmla="*/ 3548 h 7708"/>
                <a:gd name="T60" fmla="*/ 2332 w 3366"/>
                <a:gd name="T61" fmla="*/ 3360 h 7708"/>
                <a:gd name="T62" fmla="*/ 2320 w 3366"/>
                <a:gd name="T63" fmla="*/ 3507 h 7708"/>
                <a:gd name="T64" fmla="*/ 2255 w 3366"/>
                <a:gd name="T65" fmla="*/ 4460 h 7708"/>
                <a:gd name="T66" fmla="*/ 2217 w 3366"/>
                <a:gd name="T67" fmla="*/ 4604 h 7708"/>
                <a:gd name="T68" fmla="*/ 2206 w 3366"/>
                <a:gd name="T69" fmla="*/ 4785 h 7708"/>
                <a:gd name="T70" fmla="*/ 2239 w 3366"/>
                <a:gd name="T71" fmla="*/ 5167 h 7708"/>
                <a:gd name="T72" fmla="*/ 2363 w 3366"/>
                <a:gd name="T73" fmla="*/ 6617 h 7708"/>
                <a:gd name="T74" fmla="*/ 2432 w 3366"/>
                <a:gd name="T75" fmla="*/ 7225 h 7708"/>
                <a:gd name="T76" fmla="*/ 2411 w 3366"/>
                <a:gd name="T77" fmla="*/ 7339 h 7708"/>
                <a:gd name="T78" fmla="*/ 2180 w 3366"/>
                <a:gd name="T79" fmla="*/ 7592 h 7708"/>
                <a:gd name="T80" fmla="*/ 1854 w 3366"/>
                <a:gd name="T81" fmla="*/ 7600 h 7708"/>
                <a:gd name="T82" fmla="*/ 1706 w 3366"/>
                <a:gd name="T83" fmla="*/ 7412 h 7708"/>
                <a:gd name="T84" fmla="*/ 1538 w 3366"/>
                <a:gd name="T85" fmla="*/ 5898 h 7708"/>
                <a:gd name="T86" fmla="*/ 1494 w 3366"/>
                <a:gd name="T87" fmla="*/ 5373 h 7708"/>
                <a:gd name="T88" fmla="*/ 1470 w 3366"/>
                <a:gd name="T89" fmla="*/ 5085 h 7708"/>
                <a:gd name="T90" fmla="*/ 1393 w 3366"/>
                <a:gd name="T91" fmla="*/ 5050 h 7708"/>
                <a:gd name="T92" fmla="*/ 1315 w 3366"/>
                <a:gd name="T93" fmla="*/ 5038 h 7708"/>
                <a:gd name="T94" fmla="*/ 1212 w 3366"/>
                <a:gd name="T95" fmla="*/ 5410 h 7708"/>
                <a:gd name="T96" fmla="*/ 939 w 3366"/>
                <a:gd name="T97" fmla="*/ 7123 h 7708"/>
                <a:gd name="T98" fmla="*/ 901 w 3366"/>
                <a:gd name="T99" fmla="*/ 7393 h 7708"/>
                <a:gd name="T100" fmla="*/ 386 w 3366"/>
                <a:gd name="T101" fmla="*/ 7638 h 7708"/>
                <a:gd name="T102" fmla="*/ 1945 w 3366"/>
                <a:gd name="T103" fmla="*/ 1890 h 7708"/>
                <a:gd name="T104" fmla="*/ 1553 w 3366"/>
                <a:gd name="T105" fmla="*/ 1693 h 7708"/>
                <a:gd name="T106" fmla="*/ 1358 w 3366"/>
                <a:gd name="T107" fmla="*/ 1217 h 7708"/>
                <a:gd name="T108" fmla="*/ 1832 w 3366"/>
                <a:gd name="T109" fmla="*/ 579 h 7708"/>
                <a:gd name="T110" fmla="*/ 2219 w 3366"/>
                <a:gd name="T111" fmla="*/ 577 h 7708"/>
                <a:gd name="T112" fmla="*/ 2616 w 3366"/>
                <a:gd name="T113" fmla="*/ 902 h 7708"/>
                <a:gd name="T114" fmla="*/ 2696 w 3366"/>
                <a:gd name="T115" fmla="*/ 1223 h 7708"/>
                <a:gd name="T116" fmla="*/ 2249 w 3366"/>
                <a:gd name="T117" fmla="*/ 1853 h 7708"/>
                <a:gd name="T118" fmla="*/ 1945 w 3366"/>
                <a:gd name="T119" fmla="*/ 1890 h 7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66" h="7708">
                  <a:moveTo>
                    <a:pt x="386" y="7638"/>
                  </a:moveTo>
                  <a:cubicBezTo>
                    <a:pt x="351" y="7625"/>
                    <a:pt x="302" y="7599"/>
                    <a:pt x="277" y="7581"/>
                  </a:cubicBezTo>
                  <a:cubicBezTo>
                    <a:pt x="224" y="7540"/>
                    <a:pt x="172" y="7445"/>
                    <a:pt x="162" y="7370"/>
                  </a:cubicBezTo>
                  <a:cubicBezTo>
                    <a:pt x="154" y="7308"/>
                    <a:pt x="218" y="6644"/>
                    <a:pt x="264" y="6317"/>
                  </a:cubicBezTo>
                  <a:cubicBezTo>
                    <a:pt x="343" y="5751"/>
                    <a:pt x="451" y="5247"/>
                    <a:pt x="585" y="4817"/>
                  </a:cubicBezTo>
                  <a:cubicBezTo>
                    <a:pt x="641" y="4639"/>
                    <a:pt x="772" y="4280"/>
                    <a:pt x="807" y="4210"/>
                  </a:cubicBezTo>
                  <a:cubicBezTo>
                    <a:pt x="840" y="4145"/>
                    <a:pt x="864" y="3688"/>
                    <a:pt x="864" y="3129"/>
                  </a:cubicBezTo>
                  <a:lnTo>
                    <a:pt x="864" y="2667"/>
                  </a:lnTo>
                  <a:lnTo>
                    <a:pt x="774" y="2517"/>
                  </a:lnTo>
                  <a:cubicBezTo>
                    <a:pt x="447" y="1967"/>
                    <a:pt x="178" y="1259"/>
                    <a:pt x="50" y="611"/>
                  </a:cubicBezTo>
                  <a:cubicBezTo>
                    <a:pt x="0" y="357"/>
                    <a:pt x="45" y="216"/>
                    <a:pt x="210" y="110"/>
                  </a:cubicBezTo>
                  <a:cubicBezTo>
                    <a:pt x="380" y="0"/>
                    <a:pt x="573" y="16"/>
                    <a:pt x="688" y="150"/>
                  </a:cubicBezTo>
                  <a:cubicBezTo>
                    <a:pt x="737" y="208"/>
                    <a:pt x="747" y="237"/>
                    <a:pt x="806" y="504"/>
                  </a:cubicBezTo>
                  <a:cubicBezTo>
                    <a:pt x="913" y="980"/>
                    <a:pt x="1045" y="1365"/>
                    <a:pt x="1242" y="1773"/>
                  </a:cubicBezTo>
                  <a:cubicBezTo>
                    <a:pt x="1281" y="1852"/>
                    <a:pt x="1313" y="1918"/>
                    <a:pt x="1315" y="1921"/>
                  </a:cubicBezTo>
                  <a:cubicBezTo>
                    <a:pt x="1317" y="1923"/>
                    <a:pt x="1357" y="1916"/>
                    <a:pt x="1406" y="1905"/>
                  </a:cubicBezTo>
                  <a:cubicBezTo>
                    <a:pt x="1584" y="1865"/>
                    <a:pt x="1774" y="1886"/>
                    <a:pt x="1922" y="1963"/>
                  </a:cubicBezTo>
                  <a:cubicBezTo>
                    <a:pt x="2014" y="2011"/>
                    <a:pt x="2140" y="2125"/>
                    <a:pt x="2193" y="2208"/>
                  </a:cubicBezTo>
                  <a:cubicBezTo>
                    <a:pt x="2223" y="2254"/>
                    <a:pt x="2243" y="2270"/>
                    <a:pt x="2285" y="2283"/>
                  </a:cubicBezTo>
                  <a:cubicBezTo>
                    <a:pt x="2314" y="2292"/>
                    <a:pt x="2365" y="2322"/>
                    <a:pt x="2397" y="2349"/>
                  </a:cubicBezTo>
                  <a:cubicBezTo>
                    <a:pt x="2429" y="2376"/>
                    <a:pt x="2459" y="2398"/>
                    <a:pt x="2463" y="2398"/>
                  </a:cubicBezTo>
                  <a:cubicBezTo>
                    <a:pt x="2467" y="2398"/>
                    <a:pt x="2470" y="2384"/>
                    <a:pt x="2470" y="2366"/>
                  </a:cubicBezTo>
                  <a:cubicBezTo>
                    <a:pt x="2470" y="2273"/>
                    <a:pt x="2562" y="2153"/>
                    <a:pt x="2676" y="2097"/>
                  </a:cubicBezTo>
                  <a:cubicBezTo>
                    <a:pt x="2745" y="2063"/>
                    <a:pt x="2771" y="2057"/>
                    <a:pt x="2854" y="2056"/>
                  </a:cubicBezTo>
                  <a:cubicBezTo>
                    <a:pt x="3006" y="2056"/>
                    <a:pt x="3116" y="2117"/>
                    <a:pt x="3177" y="2237"/>
                  </a:cubicBezTo>
                  <a:cubicBezTo>
                    <a:pt x="3234" y="2349"/>
                    <a:pt x="3285" y="2628"/>
                    <a:pt x="3338" y="3114"/>
                  </a:cubicBezTo>
                  <a:cubicBezTo>
                    <a:pt x="3363" y="3344"/>
                    <a:pt x="3366" y="3412"/>
                    <a:pt x="3356" y="3470"/>
                  </a:cubicBezTo>
                  <a:cubicBezTo>
                    <a:pt x="3329" y="3615"/>
                    <a:pt x="3229" y="3739"/>
                    <a:pt x="3105" y="3780"/>
                  </a:cubicBezTo>
                  <a:cubicBezTo>
                    <a:pt x="3025" y="3806"/>
                    <a:pt x="2905" y="3799"/>
                    <a:pt x="2829" y="3762"/>
                  </a:cubicBezTo>
                  <a:cubicBezTo>
                    <a:pt x="2799" y="3747"/>
                    <a:pt x="2678" y="3651"/>
                    <a:pt x="2560" y="3548"/>
                  </a:cubicBezTo>
                  <a:cubicBezTo>
                    <a:pt x="2442" y="3445"/>
                    <a:pt x="2339" y="3360"/>
                    <a:pt x="2332" y="3360"/>
                  </a:cubicBezTo>
                  <a:cubicBezTo>
                    <a:pt x="2325" y="3360"/>
                    <a:pt x="2320" y="3416"/>
                    <a:pt x="2320" y="3507"/>
                  </a:cubicBezTo>
                  <a:cubicBezTo>
                    <a:pt x="2320" y="3736"/>
                    <a:pt x="2281" y="4306"/>
                    <a:pt x="2255" y="4460"/>
                  </a:cubicBezTo>
                  <a:cubicBezTo>
                    <a:pt x="2248" y="4505"/>
                    <a:pt x="2230" y="4570"/>
                    <a:pt x="2217" y="4604"/>
                  </a:cubicBezTo>
                  <a:cubicBezTo>
                    <a:pt x="2195" y="4661"/>
                    <a:pt x="2194" y="4678"/>
                    <a:pt x="2206" y="4785"/>
                  </a:cubicBezTo>
                  <a:cubicBezTo>
                    <a:pt x="2214" y="4851"/>
                    <a:pt x="2229" y="5022"/>
                    <a:pt x="2239" y="5167"/>
                  </a:cubicBezTo>
                  <a:cubicBezTo>
                    <a:pt x="2273" y="5630"/>
                    <a:pt x="2344" y="6462"/>
                    <a:pt x="2363" y="6617"/>
                  </a:cubicBezTo>
                  <a:cubicBezTo>
                    <a:pt x="2407" y="6959"/>
                    <a:pt x="2432" y="7187"/>
                    <a:pt x="2432" y="7225"/>
                  </a:cubicBezTo>
                  <a:cubicBezTo>
                    <a:pt x="2432" y="7247"/>
                    <a:pt x="2423" y="7298"/>
                    <a:pt x="2411" y="7339"/>
                  </a:cubicBezTo>
                  <a:cubicBezTo>
                    <a:pt x="2383" y="7440"/>
                    <a:pt x="2289" y="7542"/>
                    <a:pt x="2180" y="7592"/>
                  </a:cubicBezTo>
                  <a:cubicBezTo>
                    <a:pt x="2074" y="7641"/>
                    <a:pt x="1943" y="7644"/>
                    <a:pt x="1854" y="7600"/>
                  </a:cubicBezTo>
                  <a:cubicBezTo>
                    <a:pt x="1787" y="7567"/>
                    <a:pt x="1723" y="7485"/>
                    <a:pt x="1706" y="7412"/>
                  </a:cubicBezTo>
                  <a:cubicBezTo>
                    <a:pt x="1674" y="7267"/>
                    <a:pt x="1574" y="6368"/>
                    <a:pt x="1538" y="5898"/>
                  </a:cubicBezTo>
                  <a:cubicBezTo>
                    <a:pt x="1527" y="5757"/>
                    <a:pt x="1508" y="5521"/>
                    <a:pt x="1494" y="5373"/>
                  </a:cubicBezTo>
                  <a:cubicBezTo>
                    <a:pt x="1481" y="5225"/>
                    <a:pt x="1470" y="5095"/>
                    <a:pt x="1470" y="5085"/>
                  </a:cubicBezTo>
                  <a:cubicBezTo>
                    <a:pt x="1470" y="5071"/>
                    <a:pt x="1447" y="5061"/>
                    <a:pt x="1393" y="5050"/>
                  </a:cubicBezTo>
                  <a:cubicBezTo>
                    <a:pt x="1351" y="5041"/>
                    <a:pt x="1316" y="5035"/>
                    <a:pt x="1315" y="5038"/>
                  </a:cubicBezTo>
                  <a:cubicBezTo>
                    <a:pt x="1308" y="5048"/>
                    <a:pt x="1249" y="5261"/>
                    <a:pt x="1212" y="5410"/>
                  </a:cubicBezTo>
                  <a:cubicBezTo>
                    <a:pt x="1088" y="5895"/>
                    <a:pt x="1004" y="6428"/>
                    <a:pt x="939" y="7123"/>
                  </a:cubicBezTo>
                  <a:cubicBezTo>
                    <a:pt x="928" y="7236"/>
                    <a:pt x="911" y="7358"/>
                    <a:pt x="901" y="7393"/>
                  </a:cubicBezTo>
                  <a:cubicBezTo>
                    <a:pt x="846" y="7584"/>
                    <a:pt x="584" y="7708"/>
                    <a:pt x="386" y="7638"/>
                  </a:cubicBezTo>
                  <a:close/>
                  <a:moveTo>
                    <a:pt x="1945" y="1890"/>
                  </a:moveTo>
                  <a:cubicBezTo>
                    <a:pt x="1809" y="1873"/>
                    <a:pt x="1653" y="1795"/>
                    <a:pt x="1553" y="1693"/>
                  </a:cubicBezTo>
                  <a:cubicBezTo>
                    <a:pt x="1423" y="1562"/>
                    <a:pt x="1358" y="1401"/>
                    <a:pt x="1358" y="1217"/>
                  </a:cubicBezTo>
                  <a:cubicBezTo>
                    <a:pt x="1358" y="929"/>
                    <a:pt x="1548" y="673"/>
                    <a:pt x="1832" y="579"/>
                  </a:cubicBezTo>
                  <a:cubicBezTo>
                    <a:pt x="1923" y="548"/>
                    <a:pt x="2123" y="548"/>
                    <a:pt x="2219" y="577"/>
                  </a:cubicBezTo>
                  <a:cubicBezTo>
                    <a:pt x="2377" y="625"/>
                    <a:pt x="2545" y="763"/>
                    <a:pt x="2616" y="902"/>
                  </a:cubicBezTo>
                  <a:cubicBezTo>
                    <a:pt x="2678" y="1025"/>
                    <a:pt x="2696" y="1097"/>
                    <a:pt x="2696" y="1223"/>
                  </a:cubicBezTo>
                  <a:cubicBezTo>
                    <a:pt x="2696" y="1512"/>
                    <a:pt x="2524" y="1755"/>
                    <a:pt x="2249" y="1853"/>
                  </a:cubicBezTo>
                  <a:cubicBezTo>
                    <a:pt x="2164" y="1884"/>
                    <a:pt x="2028" y="1900"/>
                    <a:pt x="1945" y="1890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5" name="Oval 10">
            <a:extLst>
              <a:ext uri="{FF2B5EF4-FFF2-40B4-BE49-F238E27FC236}">
                <a16:creationId xmlns:a16="http://schemas.microsoft.com/office/drawing/2014/main" id="{A243E866-9020-8A59-9D7B-87904A555BD3}"/>
              </a:ext>
            </a:extLst>
          </p:cNvPr>
          <p:cNvSpPr/>
          <p:nvPr/>
        </p:nvSpPr>
        <p:spPr>
          <a:xfrm>
            <a:off x="11876570" y="5926134"/>
            <a:ext cx="298889" cy="298889"/>
          </a:xfrm>
          <a:prstGeom prst="ellipse">
            <a:avLst/>
          </a:prstGeom>
          <a:solidFill>
            <a:srgbClr val="1560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B204B01-4765-4407-A0BE-A8E001ACB48B}"/>
              </a:ext>
            </a:extLst>
          </p:cNvPr>
          <p:cNvGrpSpPr/>
          <p:nvPr/>
        </p:nvGrpSpPr>
        <p:grpSpPr>
          <a:xfrm flipH="1">
            <a:off x="1" y="4460421"/>
            <a:ext cx="12191999" cy="2419506"/>
            <a:chOff x="1" y="4460421"/>
            <a:chExt cx="12191999" cy="2419506"/>
          </a:xfrm>
        </p:grpSpPr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AFCDAB66-6697-4928-9A5E-0BBC074B0DAD}"/>
                </a:ext>
              </a:extLst>
            </p:cNvPr>
            <p:cNvSpPr/>
            <p:nvPr/>
          </p:nvSpPr>
          <p:spPr>
            <a:xfrm>
              <a:off x="1" y="4460421"/>
              <a:ext cx="12191999" cy="2416629"/>
            </a:xfrm>
            <a:custGeom>
              <a:avLst/>
              <a:gdLst>
                <a:gd name="connsiteX0" fmla="*/ 8957869 w 12191999"/>
                <a:gd name="connsiteY0" fmla="*/ 2 h 2735201"/>
                <a:gd name="connsiteX1" fmla="*/ 10308907 w 12191999"/>
                <a:gd name="connsiteY1" fmla="*/ 807424 h 2735201"/>
                <a:gd name="connsiteX2" fmla="*/ 10570413 w 12191999"/>
                <a:gd name="connsiteY2" fmla="*/ 1015401 h 2735201"/>
                <a:gd name="connsiteX3" fmla="*/ 11524632 w 12191999"/>
                <a:gd name="connsiteY3" fmla="*/ 1661816 h 2735201"/>
                <a:gd name="connsiteX4" fmla="*/ 11624783 w 12191999"/>
                <a:gd name="connsiteY4" fmla="*/ 1833257 h 2735201"/>
                <a:gd name="connsiteX5" fmla="*/ 11852906 w 12191999"/>
                <a:gd name="connsiteY5" fmla="*/ 1836067 h 2735201"/>
                <a:gd name="connsiteX6" fmla="*/ 12144607 w 12191999"/>
                <a:gd name="connsiteY6" fmla="*/ 1878209 h 2735201"/>
                <a:gd name="connsiteX7" fmla="*/ 12191999 w 12191999"/>
                <a:gd name="connsiteY7" fmla="*/ 1894228 h 2735201"/>
                <a:gd name="connsiteX8" fmla="*/ 12191999 w 12191999"/>
                <a:gd name="connsiteY8" fmla="*/ 2735201 h 2735201"/>
                <a:gd name="connsiteX9" fmla="*/ 6452313 w 12191999"/>
                <a:gd name="connsiteY9" fmla="*/ 2735201 h 2735201"/>
                <a:gd name="connsiteX10" fmla="*/ 5172234 w 12191999"/>
                <a:gd name="connsiteY10" fmla="*/ 2735201 h 2735201"/>
                <a:gd name="connsiteX11" fmla="*/ 2657884 w 12191999"/>
                <a:gd name="connsiteY11" fmla="*/ 2735201 h 2735201"/>
                <a:gd name="connsiteX12" fmla="*/ 1235768 w 12191999"/>
                <a:gd name="connsiteY12" fmla="*/ 2735201 h 2735201"/>
                <a:gd name="connsiteX13" fmla="*/ 0 w 12191999"/>
                <a:gd name="connsiteY13" fmla="*/ 2735201 h 2735201"/>
                <a:gd name="connsiteX14" fmla="*/ 0 w 12191999"/>
                <a:gd name="connsiteY14" fmla="*/ 1746328 h 2735201"/>
                <a:gd name="connsiteX15" fmla="*/ 39705 w 12191999"/>
                <a:gd name="connsiteY15" fmla="*/ 1798250 h 2735201"/>
                <a:gd name="connsiteX16" fmla="*/ 186799 w 12191999"/>
                <a:gd name="connsiteY16" fmla="*/ 1760135 h 2735201"/>
                <a:gd name="connsiteX17" fmla="*/ 729916 w 12191999"/>
                <a:gd name="connsiteY17" fmla="*/ 1594336 h 2735201"/>
                <a:gd name="connsiteX18" fmla="*/ 1325836 w 12191999"/>
                <a:gd name="connsiteY18" fmla="*/ 1847799 h 2735201"/>
                <a:gd name="connsiteX19" fmla="*/ 1534160 w 12191999"/>
                <a:gd name="connsiteY19" fmla="*/ 2150335 h 2735201"/>
                <a:gd name="connsiteX20" fmla="*/ 1544687 w 12191999"/>
                <a:gd name="connsiteY20" fmla="*/ 2171439 h 2735201"/>
                <a:gd name="connsiteX21" fmla="*/ 1545220 w 12191999"/>
                <a:gd name="connsiteY21" fmla="*/ 2170800 h 2735201"/>
                <a:gd name="connsiteX22" fmla="*/ 2359487 w 12191999"/>
                <a:gd name="connsiteY22" fmla="*/ 1859106 h 2735201"/>
                <a:gd name="connsiteX23" fmla="*/ 2704296 w 12191999"/>
                <a:gd name="connsiteY23" fmla="*/ 1775434 h 2735201"/>
                <a:gd name="connsiteX24" fmla="*/ 3093885 w 12191999"/>
                <a:gd name="connsiteY24" fmla="*/ 1196514 h 2735201"/>
                <a:gd name="connsiteX25" fmla="*/ 4197720 w 12191999"/>
                <a:gd name="connsiteY25" fmla="*/ 769108 h 2735201"/>
                <a:gd name="connsiteX26" fmla="*/ 5288121 w 12191999"/>
                <a:gd name="connsiteY26" fmla="*/ 1189730 h 2735201"/>
                <a:gd name="connsiteX27" fmla="*/ 5636569 w 12191999"/>
                <a:gd name="connsiteY27" fmla="*/ 1639184 h 2735201"/>
                <a:gd name="connsiteX28" fmla="*/ 5669040 w 12191999"/>
                <a:gd name="connsiteY28" fmla="*/ 1715253 h 2735201"/>
                <a:gd name="connsiteX29" fmla="*/ 5772236 w 12191999"/>
                <a:gd name="connsiteY29" fmla="*/ 1691376 h 2735201"/>
                <a:gd name="connsiteX30" fmla="*/ 6094206 w 12191999"/>
                <a:gd name="connsiteY30" fmla="*/ 1703974 h 2735201"/>
                <a:gd name="connsiteX31" fmla="*/ 6275035 w 12191999"/>
                <a:gd name="connsiteY31" fmla="*/ 1642143 h 2735201"/>
                <a:gd name="connsiteX32" fmla="*/ 6742408 w 12191999"/>
                <a:gd name="connsiteY32" fmla="*/ 1240241 h 2735201"/>
                <a:gd name="connsiteX33" fmla="*/ 7184742 w 12191999"/>
                <a:gd name="connsiteY33" fmla="*/ 1169978 h 2735201"/>
                <a:gd name="connsiteX34" fmla="*/ 7465723 w 12191999"/>
                <a:gd name="connsiteY34" fmla="*/ 1169978 h 2735201"/>
                <a:gd name="connsiteX35" fmla="*/ 7521362 w 12191999"/>
                <a:gd name="connsiteY35" fmla="*/ 1018211 h 2735201"/>
                <a:gd name="connsiteX36" fmla="*/ 7958133 w 12191999"/>
                <a:gd name="connsiteY36" fmla="*/ 374606 h 2735201"/>
                <a:gd name="connsiteX37" fmla="*/ 8728742 w 12191999"/>
                <a:gd name="connsiteY37" fmla="*/ 20483 h 2735201"/>
                <a:gd name="connsiteX38" fmla="*/ 8957869 w 12191999"/>
                <a:gd name="connsiteY38" fmla="*/ 2 h 2735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191999" h="2735201">
                  <a:moveTo>
                    <a:pt x="8957869" y="2"/>
                  </a:moveTo>
                  <a:cubicBezTo>
                    <a:pt x="9496785" y="-728"/>
                    <a:pt x="10050878" y="320504"/>
                    <a:pt x="10308907" y="807424"/>
                  </a:cubicBezTo>
                  <a:cubicBezTo>
                    <a:pt x="10406276" y="990106"/>
                    <a:pt x="10417404" y="1001348"/>
                    <a:pt x="10570413" y="1015401"/>
                  </a:cubicBezTo>
                  <a:cubicBezTo>
                    <a:pt x="10907033" y="1049127"/>
                    <a:pt x="11329893" y="1335798"/>
                    <a:pt x="11524632" y="1661816"/>
                  </a:cubicBezTo>
                  <a:lnTo>
                    <a:pt x="11624783" y="1833257"/>
                  </a:lnTo>
                  <a:lnTo>
                    <a:pt x="11852906" y="1836067"/>
                  </a:lnTo>
                  <a:cubicBezTo>
                    <a:pt x="11954101" y="1837121"/>
                    <a:pt x="12052165" y="1851613"/>
                    <a:pt x="12144607" y="1878209"/>
                  </a:cubicBezTo>
                  <a:lnTo>
                    <a:pt x="12191999" y="1894228"/>
                  </a:lnTo>
                  <a:lnTo>
                    <a:pt x="12191999" y="2735201"/>
                  </a:lnTo>
                  <a:lnTo>
                    <a:pt x="6452313" y="2735201"/>
                  </a:lnTo>
                  <a:lnTo>
                    <a:pt x="5172234" y="2735201"/>
                  </a:lnTo>
                  <a:lnTo>
                    <a:pt x="2657884" y="2735201"/>
                  </a:lnTo>
                  <a:lnTo>
                    <a:pt x="1235768" y="2735201"/>
                  </a:lnTo>
                  <a:lnTo>
                    <a:pt x="0" y="2735201"/>
                  </a:lnTo>
                  <a:lnTo>
                    <a:pt x="0" y="1746328"/>
                  </a:lnTo>
                  <a:lnTo>
                    <a:pt x="39705" y="1798250"/>
                  </a:lnTo>
                  <a:cubicBezTo>
                    <a:pt x="66106" y="1836365"/>
                    <a:pt x="77421" y="1834459"/>
                    <a:pt x="186799" y="1760135"/>
                  </a:cubicBezTo>
                  <a:cubicBezTo>
                    <a:pt x="360295" y="1641979"/>
                    <a:pt x="511160" y="1596242"/>
                    <a:pt x="729916" y="1594336"/>
                  </a:cubicBezTo>
                  <a:cubicBezTo>
                    <a:pt x="971301" y="1594336"/>
                    <a:pt x="1152340" y="1670566"/>
                    <a:pt x="1325836" y="1847799"/>
                  </a:cubicBezTo>
                  <a:cubicBezTo>
                    <a:pt x="1391840" y="1916882"/>
                    <a:pt x="1478470" y="2046264"/>
                    <a:pt x="1534160" y="2150335"/>
                  </a:cubicBezTo>
                  <a:lnTo>
                    <a:pt x="1544687" y="2171439"/>
                  </a:lnTo>
                  <a:lnTo>
                    <a:pt x="1545220" y="2170800"/>
                  </a:lnTo>
                  <a:cubicBezTo>
                    <a:pt x="1757752" y="1956629"/>
                    <a:pt x="2065617" y="1826598"/>
                    <a:pt x="2359487" y="1859106"/>
                  </a:cubicBezTo>
                  <a:cubicBezTo>
                    <a:pt x="2679667" y="1895288"/>
                    <a:pt x="2655038" y="1899811"/>
                    <a:pt x="2704296" y="1775434"/>
                  </a:cubicBezTo>
                  <a:cubicBezTo>
                    <a:pt x="2766988" y="1610351"/>
                    <a:pt x="2977456" y="1300538"/>
                    <a:pt x="3093885" y="1196514"/>
                  </a:cubicBezTo>
                  <a:cubicBezTo>
                    <a:pt x="3416303" y="909315"/>
                    <a:pt x="3779024" y="769108"/>
                    <a:pt x="4197720" y="769108"/>
                  </a:cubicBezTo>
                  <a:cubicBezTo>
                    <a:pt x="4643284" y="769108"/>
                    <a:pt x="4974659" y="895747"/>
                    <a:pt x="5288121" y="1189730"/>
                  </a:cubicBezTo>
                  <a:cubicBezTo>
                    <a:pt x="5431418" y="1323153"/>
                    <a:pt x="5548967" y="1475232"/>
                    <a:pt x="5636569" y="1639184"/>
                  </a:cubicBezTo>
                  <a:lnTo>
                    <a:pt x="5669040" y="1715253"/>
                  </a:lnTo>
                  <a:lnTo>
                    <a:pt x="5772236" y="1691376"/>
                  </a:lnTo>
                  <a:cubicBezTo>
                    <a:pt x="5883471" y="1672751"/>
                    <a:pt x="5995098" y="1675518"/>
                    <a:pt x="6094206" y="1703974"/>
                  </a:cubicBezTo>
                  <a:cubicBezTo>
                    <a:pt x="6216613" y="1737700"/>
                    <a:pt x="6227741" y="1734889"/>
                    <a:pt x="6275035" y="1642143"/>
                  </a:cubicBezTo>
                  <a:cubicBezTo>
                    <a:pt x="6344584" y="1507239"/>
                    <a:pt x="6553233" y="1327367"/>
                    <a:pt x="6742408" y="1240241"/>
                  </a:cubicBezTo>
                  <a:cubicBezTo>
                    <a:pt x="6862033" y="1186841"/>
                    <a:pt x="6973312" y="1167168"/>
                    <a:pt x="7184742" y="1169978"/>
                  </a:cubicBezTo>
                  <a:lnTo>
                    <a:pt x="7465723" y="1169978"/>
                  </a:lnTo>
                  <a:lnTo>
                    <a:pt x="7521362" y="1018211"/>
                  </a:lnTo>
                  <a:cubicBezTo>
                    <a:pt x="7599258" y="807424"/>
                    <a:pt x="7807906" y="501079"/>
                    <a:pt x="7958133" y="374606"/>
                  </a:cubicBezTo>
                  <a:cubicBezTo>
                    <a:pt x="8152872" y="208787"/>
                    <a:pt x="8458889" y="71072"/>
                    <a:pt x="8728742" y="20483"/>
                  </a:cubicBezTo>
                  <a:cubicBezTo>
                    <a:pt x="8804203" y="6782"/>
                    <a:pt x="8880881" y="107"/>
                    <a:pt x="8957869" y="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</a:ln>
            <a:effectLst>
              <a:outerShdw blurRad="241300" dist="38100" dir="1440000" algn="tl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  <p:sp useBgFill="1"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04221490-9EAC-4168-8A93-AC881F3E65AC}"/>
                </a:ext>
              </a:extLst>
            </p:cNvPr>
            <p:cNvSpPr/>
            <p:nvPr/>
          </p:nvSpPr>
          <p:spPr>
            <a:xfrm>
              <a:off x="1" y="4611667"/>
              <a:ext cx="12191999" cy="2268260"/>
            </a:xfrm>
            <a:custGeom>
              <a:avLst/>
              <a:gdLst>
                <a:gd name="connsiteX0" fmla="*/ 8957869 w 12191999"/>
                <a:gd name="connsiteY0" fmla="*/ 2 h 2735201"/>
                <a:gd name="connsiteX1" fmla="*/ 10308907 w 12191999"/>
                <a:gd name="connsiteY1" fmla="*/ 807424 h 2735201"/>
                <a:gd name="connsiteX2" fmla="*/ 10570413 w 12191999"/>
                <a:gd name="connsiteY2" fmla="*/ 1015401 h 2735201"/>
                <a:gd name="connsiteX3" fmla="*/ 11524632 w 12191999"/>
                <a:gd name="connsiteY3" fmla="*/ 1661816 h 2735201"/>
                <a:gd name="connsiteX4" fmla="*/ 11624783 w 12191999"/>
                <a:gd name="connsiteY4" fmla="*/ 1833257 h 2735201"/>
                <a:gd name="connsiteX5" fmla="*/ 11852906 w 12191999"/>
                <a:gd name="connsiteY5" fmla="*/ 1836067 h 2735201"/>
                <a:gd name="connsiteX6" fmla="*/ 12144607 w 12191999"/>
                <a:gd name="connsiteY6" fmla="*/ 1878209 h 2735201"/>
                <a:gd name="connsiteX7" fmla="*/ 12191999 w 12191999"/>
                <a:gd name="connsiteY7" fmla="*/ 1894228 h 2735201"/>
                <a:gd name="connsiteX8" fmla="*/ 12191999 w 12191999"/>
                <a:gd name="connsiteY8" fmla="*/ 2735201 h 2735201"/>
                <a:gd name="connsiteX9" fmla="*/ 6452313 w 12191999"/>
                <a:gd name="connsiteY9" fmla="*/ 2735201 h 2735201"/>
                <a:gd name="connsiteX10" fmla="*/ 5172234 w 12191999"/>
                <a:gd name="connsiteY10" fmla="*/ 2735201 h 2735201"/>
                <a:gd name="connsiteX11" fmla="*/ 2657884 w 12191999"/>
                <a:gd name="connsiteY11" fmla="*/ 2735201 h 2735201"/>
                <a:gd name="connsiteX12" fmla="*/ 1235768 w 12191999"/>
                <a:gd name="connsiteY12" fmla="*/ 2735201 h 2735201"/>
                <a:gd name="connsiteX13" fmla="*/ 0 w 12191999"/>
                <a:gd name="connsiteY13" fmla="*/ 2735201 h 2735201"/>
                <a:gd name="connsiteX14" fmla="*/ 0 w 12191999"/>
                <a:gd name="connsiteY14" fmla="*/ 1746328 h 2735201"/>
                <a:gd name="connsiteX15" fmla="*/ 39705 w 12191999"/>
                <a:gd name="connsiteY15" fmla="*/ 1798250 h 2735201"/>
                <a:gd name="connsiteX16" fmla="*/ 186799 w 12191999"/>
                <a:gd name="connsiteY16" fmla="*/ 1760135 h 2735201"/>
                <a:gd name="connsiteX17" fmla="*/ 729916 w 12191999"/>
                <a:gd name="connsiteY17" fmla="*/ 1594336 h 2735201"/>
                <a:gd name="connsiteX18" fmla="*/ 1325836 w 12191999"/>
                <a:gd name="connsiteY18" fmla="*/ 1847799 h 2735201"/>
                <a:gd name="connsiteX19" fmla="*/ 1534160 w 12191999"/>
                <a:gd name="connsiteY19" fmla="*/ 2150335 h 2735201"/>
                <a:gd name="connsiteX20" fmla="*/ 1544687 w 12191999"/>
                <a:gd name="connsiteY20" fmla="*/ 2171439 h 2735201"/>
                <a:gd name="connsiteX21" fmla="*/ 1545220 w 12191999"/>
                <a:gd name="connsiteY21" fmla="*/ 2170800 h 2735201"/>
                <a:gd name="connsiteX22" fmla="*/ 2359487 w 12191999"/>
                <a:gd name="connsiteY22" fmla="*/ 1859106 h 2735201"/>
                <a:gd name="connsiteX23" fmla="*/ 2704296 w 12191999"/>
                <a:gd name="connsiteY23" fmla="*/ 1775434 h 2735201"/>
                <a:gd name="connsiteX24" fmla="*/ 3093885 w 12191999"/>
                <a:gd name="connsiteY24" fmla="*/ 1196514 h 2735201"/>
                <a:gd name="connsiteX25" fmla="*/ 4197720 w 12191999"/>
                <a:gd name="connsiteY25" fmla="*/ 769108 h 2735201"/>
                <a:gd name="connsiteX26" fmla="*/ 5288121 w 12191999"/>
                <a:gd name="connsiteY26" fmla="*/ 1189730 h 2735201"/>
                <a:gd name="connsiteX27" fmla="*/ 5636569 w 12191999"/>
                <a:gd name="connsiteY27" fmla="*/ 1639184 h 2735201"/>
                <a:gd name="connsiteX28" fmla="*/ 5669040 w 12191999"/>
                <a:gd name="connsiteY28" fmla="*/ 1715253 h 2735201"/>
                <a:gd name="connsiteX29" fmla="*/ 5772236 w 12191999"/>
                <a:gd name="connsiteY29" fmla="*/ 1691376 h 2735201"/>
                <a:gd name="connsiteX30" fmla="*/ 6094206 w 12191999"/>
                <a:gd name="connsiteY30" fmla="*/ 1703974 h 2735201"/>
                <a:gd name="connsiteX31" fmla="*/ 6275035 w 12191999"/>
                <a:gd name="connsiteY31" fmla="*/ 1642143 h 2735201"/>
                <a:gd name="connsiteX32" fmla="*/ 6742408 w 12191999"/>
                <a:gd name="connsiteY32" fmla="*/ 1240241 h 2735201"/>
                <a:gd name="connsiteX33" fmla="*/ 7184742 w 12191999"/>
                <a:gd name="connsiteY33" fmla="*/ 1169978 h 2735201"/>
                <a:gd name="connsiteX34" fmla="*/ 7465723 w 12191999"/>
                <a:gd name="connsiteY34" fmla="*/ 1169978 h 2735201"/>
                <a:gd name="connsiteX35" fmla="*/ 7521362 w 12191999"/>
                <a:gd name="connsiteY35" fmla="*/ 1018211 h 2735201"/>
                <a:gd name="connsiteX36" fmla="*/ 7958133 w 12191999"/>
                <a:gd name="connsiteY36" fmla="*/ 374606 h 2735201"/>
                <a:gd name="connsiteX37" fmla="*/ 8728742 w 12191999"/>
                <a:gd name="connsiteY37" fmla="*/ 20483 h 2735201"/>
                <a:gd name="connsiteX38" fmla="*/ 8957869 w 12191999"/>
                <a:gd name="connsiteY38" fmla="*/ 2 h 2735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191999" h="2735201">
                  <a:moveTo>
                    <a:pt x="8957869" y="2"/>
                  </a:moveTo>
                  <a:cubicBezTo>
                    <a:pt x="9496785" y="-728"/>
                    <a:pt x="10050878" y="320504"/>
                    <a:pt x="10308907" y="807424"/>
                  </a:cubicBezTo>
                  <a:cubicBezTo>
                    <a:pt x="10406276" y="990106"/>
                    <a:pt x="10417404" y="1001348"/>
                    <a:pt x="10570413" y="1015401"/>
                  </a:cubicBezTo>
                  <a:cubicBezTo>
                    <a:pt x="10907033" y="1049127"/>
                    <a:pt x="11329893" y="1335798"/>
                    <a:pt x="11524632" y="1661816"/>
                  </a:cubicBezTo>
                  <a:lnTo>
                    <a:pt x="11624783" y="1833257"/>
                  </a:lnTo>
                  <a:lnTo>
                    <a:pt x="11852906" y="1836067"/>
                  </a:lnTo>
                  <a:cubicBezTo>
                    <a:pt x="11954101" y="1837121"/>
                    <a:pt x="12052165" y="1851613"/>
                    <a:pt x="12144607" y="1878209"/>
                  </a:cubicBezTo>
                  <a:lnTo>
                    <a:pt x="12191999" y="1894228"/>
                  </a:lnTo>
                  <a:lnTo>
                    <a:pt x="12191999" y="2735201"/>
                  </a:lnTo>
                  <a:lnTo>
                    <a:pt x="6452313" y="2735201"/>
                  </a:lnTo>
                  <a:lnTo>
                    <a:pt x="5172234" y="2735201"/>
                  </a:lnTo>
                  <a:lnTo>
                    <a:pt x="2657884" y="2735201"/>
                  </a:lnTo>
                  <a:lnTo>
                    <a:pt x="1235768" y="2735201"/>
                  </a:lnTo>
                  <a:lnTo>
                    <a:pt x="0" y="2735201"/>
                  </a:lnTo>
                  <a:lnTo>
                    <a:pt x="0" y="1746328"/>
                  </a:lnTo>
                  <a:lnTo>
                    <a:pt x="39705" y="1798250"/>
                  </a:lnTo>
                  <a:cubicBezTo>
                    <a:pt x="66106" y="1836365"/>
                    <a:pt x="77421" y="1834459"/>
                    <a:pt x="186799" y="1760135"/>
                  </a:cubicBezTo>
                  <a:cubicBezTo>
                    <a:pt x="360295" y="1641979"/>
                    <a:pt x="511160" y="1596242"/>
                    <a:pt x="729916" y="1594336"/>
                  </a:cubicBezTo>
                  <a:cubicBezTo>
                    <a:pt x="971301" y="1594336"/>
                    <a:pt x="1152340" y="1670566"/>
                    <a:pt x="1325836" y="1847799"/>
                  </a:cubicBezTo>
                  <a:cubicBezTo>
                    <a:pt x="1391840" y="1916882"/>
                    <a:pt x="1478470" y="2046264"/>
                    <a:pt x="1534160" y="2150335"/>
                  </a:cubicBezTo>
                  <a:lnTo>
                    <a:pt x="1544687" y="2171439"/>
                  </a:lnTo>
                  <a:lnTo>
                    <a:pt x="1545220" y="2170800"/>
                  </a:lnTo>
                  <a:cubicBezTo>
                    <a:pt x="1757752" y="1956629"/>
                    <a:pt x="2065617" y="1826598"/>
                    <a:pt x="2359487" y="1859106"/>
                  </a:cubicBezTo>
                  <a:cubicBezTo>
                    <a:pt x="2679667" y="1895288"/>
                    <a:pt x="2655038" y="1899811"/>
                    <a:pt x="2704296" y="1775434"/>
                  </a:cubicBezTo>
                  <a:cubicBezTo>
                    <a:pt x="2766988" y="1610351"/>
                    <a:pt x="2977456" y="1300538"/>
                    <a:pt x="3093885" y="1196514"/>
                  </a:cubicBezTo>
                  <a:cubicBezTo>
                    <a:pt x="3416303" y="909315"/>
                    <a:pt x="3779024" y="769108"/>
                    <a:pt x="4197720" y="769108"/>
                  </a:cubicBezTo>
                  <a:cubicBezTo>
                    <a:pt x="4643284" y="769108"/>
                    <a:pt x="4974659" y="895747"/>
                    <a:pt x="5288121" y="1189730"/>
                  </a:cubicBezTo>
                  <a:cubicBezTo>
                    <a:pt x="5431418" y="1323153"/>
                    <a:pt x="5548967" y="1475232"/>
                    <a:pt x="5636569" y="1639184"/>
                  </a:cubicBezTo>
                  <a:lnTo>
                    <a:pt x="5669040" y="1715253"/>
                  </a:lnTo>
                  <a:lnTo>
                    <a:pt x="5772236" y="1691376"/>
                  </a:lnTo>
                  <a:cubicBezTo>
                    <a:pt x="5883471" y="1672751"/>
                    <a:pt x="5995098" y="1675518"/>
                    <a:pt x="6094206" y="1703974"/>
                  </a:cubicBezTo>
                  <a:cubicBezTo>
                    <a:pt x="6216613" y="1737700"/>
                    <a:pt x="6227741" y="1734889"/>
                    <a:pt x="6275035" y="1642143"/>
                  </a:cubicBezTo>
                  <a:cubicBezTo>
                    <a:pt x="6344584" y="1507239"/>
                    <a:pt x="6553233" y="1327367"/>
                    <a:pt x="6742408" y="1240241"/>
                  </a:cubicBezTo>
                  <a:cubicBezTo>
                    <a:pt x="6862033" y="1186841"/>
                    <a:pt x="6973312" y="1167168"/>
                    <a:pt x="7184742" y="1169978"/>
                  </a:cubicBezTo>
                  <a:lnTo>
                    <a:pt x="7465723" y="1169978"/>
                  </a:lnTo>
                  <a:lnTo>
                    <a:pt x="7521362" y="1018211"/>
                  </a:lnTo>
                  <a:cubicBezTo>
                    <a:pt x="7599258" y="807424"/>
                    <a:pt x="7807906" y="501079"/>
                    <a:pt x="7958133" y="374606"/>
                  </a:cubicBezTo>
                  <a:cubicBezTo>
                    <a:pt x="8152872" y="208787"/>
                    <a:pt x="8458889" y="71072"/>
                    <a:pt x="8728742" y="20483"/>
                  </a:cubicBezTo>
                  <a:cubicBezTo>
                    <a:pt x="8804203" y="6782"/>
                    <a:pt x="8880881" y="107"/>
                    <a:pt x="8957869" y="2"/>
                  </a:cubicBezTo>
                  <a:close/>
                </a:path>
              </a:pathLst>
            </a:custGeom>
            <a:ln w="9525">
              <a:noFill/>
            </a:ln>
            <a:effectLst>
              <a:outerShdw blurRad="241300" dist="38100" dir="1440000" algn="tl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130640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6</TotalTime>
  <Words>142</Words>
  <Application>Microsoft Office PowerPoint</Application>
  <PresentationFormat>ワイド画面</PresentationFormat>
  <Paragraphs>39</Paragraphs>
  <Slides>4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0" baseType="lpstr">
      <vt:lpstr>游ゴシック</vt:lpstr>
      <vt:lpstr>游ゴシック Light</vt:lpstr>
      <vt:lpstr>Arial</vt:lpstr>
      <vt:lpstr>Open Sans</vt:lpstr>
      <vt:lpstr>Office テーマ</vt:lpstr>
      <vt:lpstr>think-cell Slide</vt:lpstr>
      <vt:lpstr>PowerPoint プレゼンテーション</vt:lpstr>
      <vt:lpstr>PowerPoint プレゼンテーション</vt:lpstr>
      <vt:lpstr>システムの　使用例</vt:lpstr>
      <vt:lpstr>システムの　実装方法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平松勇紀</dc:creator>
  <cp:lastModifiedBy>平松勇紀</cp:lastModifiedBy>
  <cp:revision>1</cp:revision>
  <dcterms:created xsi:type="dcterms:W3CDTF">2024-07-19T06:51:20Z</dcterms:created>
  <dcterms:modified xsi:type="dcterms:W3CDTF">2024-07-19T10:57:20Z</dcterms:modified>
</cp:coreProperties>
</file>